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notesSlides/notesSlide1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8.xml" ContentType="application/vnd.openxmlformats-officedocument.presentationml.tags+xml"/>
  <Override PartName="/ppt/tags/tag13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3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ppt/tags/tag26.xml" ContentType="application/vnd.openxmlformats-officedocument.presentationml.tags+xml"/>
  <Override PartName="/docProps/app.xml" ContentType="application/vnd.openxmlformats-officedocument.extended-propertie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9.xml" ContentType="application/vnd.openxmlformats-officedocument.presentationml.tags+xml"/>
  <Override PartName="/ppt/tags/tag12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11.xml" ContentType="application/vnd.openxmlformats-officedocument.presentationml.tags+xml"/>
  <Override PartName="/ppt/tags/tag14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10.xml" ContentType="application/vnd.openxmlformats-officedocument.presentationml.tags+xml"/>
  <Override PartName="/ppt/tags/tag7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1.xml" ContentType="application/vnd.openxmlformats-officedocument.presentationml.tags+xml"/>
  <Override PartName="/ppt/tags/tag8.xml" ContentType="application/vnd.openxmlformats-officedocument.presentationml.tags+xml"/>
  <Override PartName="/ppt/tags/tag17.xml" ContentType="application/vnd.openxmlformats-officedocument.presentationml.tags+xml"/>
  <Override PartName="/ppt/tags/tag33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5"/>
  </p:notesMasterIdLst>
  <p:sldIdLst>
    <p:sldId id="2076136582" r:id="rId3"/>
    <p:sldId id="2076136583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480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12" Type="http://schemas.openxmlformats.org/officeDocument/2006/relationships/customXml" Target="../customXml/item3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11" Type="http://schemas.openxmlformats.org/officeDocument/2006/relationships/customXml" Target="../customXml/item2.xml"/><Relationship Id="rId5" Type="http://schemas.openxmlformats.org/officeDocument/2006/relationships/notesMaster" Target="notesMasters/notesMaster1.xml"/><Relationship Id="rId10" Type="http://schemas.openxmlformats.org/officeDocument/2006/relationships/customXml" Target="../customXml/item1.xml"/><Relationship Id="rId4" Type="http://schemas.openxmlformats.org/officeDocument/2006/relationships/slide" Target="slides/slide2.xml"/><Relationship Id="rId9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F0EB57F-4623-4815-B59D-E1A3F410FFAE}" type="datetimeFigureOut">
              <a:rPr lang="en-US" smtClean="0"/>
              <a:t>2/14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DA09BE-F6F8-475D-88D7-CBAA47D118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81819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7184BF-BDAB-470B-ABCB-C7CE5DBFFCB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54983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jpe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4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3.jpe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1.png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6.jpe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18.jpg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Relationship Id="rId9" Type="http://schemas.microsoft.com/office/2007/relationships/hdphoto" Target="../media/hdphoto1.wdp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10" Type="http://schemas.microsoft.com/office/2007/relationships/hdphoto" Target="../media/hdphoto1.wdp"/><Relationship Id="rId4" Type="http://schemas.openxmlformats.org/officeDocument/2006/relationships/image" Target="../media/image25.png"/><Relationship Id="rId9" Type="http://schemas.openxmlformats.org/officeDocument/2006/relationships/image" Target="../media/image29.pn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4.bin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3.jp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8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8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6.bin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7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8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9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1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3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4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4.bin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7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7.png"/><Relationship Id="rId4" Type="http://schemas.openxmlformats.org/officeDocument/2006/relationships/image" Target="../media/image25.pn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7.png"/><Relationship Id="rId4" Type="http://schemas.openxmlformats.org/officeDocument/2006/relationships/image" Target="../media/image25.png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.png"/></Relationships>
</file>

<file path=ppt/slideLayouts/_rels/slideLayout7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.png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microsoft.com/office/2007/relationships/hdphoto" Target="../media/hdphoto3.wdp"/><Relationship Id="rId7" Type="http://schemas.microsoft.com/office/2007/relationships/hdphoto" Target="../media/hdphoto5.wdp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7.png"/><Relationship Id="rId5" Type="http://schemas.microsoft.com/office/2007/relationships/hdphoto" Target="../media/hdphoto4.wdp"/><Relationship Id="rId4" Type="http://schemas.openxmlformats.org/officeDocument/2006/relationships/image" Target="../media/image36.png"/><Relationship Id="rId9" Type="http://schemas.microsoft.com/office/2007/relationships/hdphoto" Target="../media/hdphoto1.wdp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38.jpe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5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48ECFA-383C-DDE0-3CEE-83C1B1AE85C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B0E4E6-BA7A-5007-F167-B83BEC2B681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C08859-B350-6F18-85E0-2329CD3509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6312C-EAFF-4BED-94F5-BEE52E89B31E}" type="datetimeFigureOut">
              <a:rPr lang="en-US" smtClean="0"/>
              <a:t>2/1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7916F0-1B66-3E2A-2A21-FA1C232882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48EEBE-F755-A8B8-C1B9-0C9244F360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EEC150-AE8D-49EF-81A6-13FC777E18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9704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355C91-60CF-F196-ECE5-6085DB3810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E8649FE-4138-E75A-D0E6-6C987B47B25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C8B08B-39B0-9A67-8DEF-B898D1559F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6312C-EAFF-4BED-94F5-BEE52E89B31E}" type="datetimeFigureOut">
              <a:rPr lang="en-US" smtClean="0"/>
              <a:t>2/1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648ADF-7695-CB2E-2ECA-FD6347CFED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AF5B038-31DA-AEC4-AC62-C42DDE6FA5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EEC150-AE8D-49EF-81A6-13FC777E18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3636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4E0C805-C3EF-EC0C-32BF-CA8F47E83FC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45928B9-F1CF-5C80-21DB-F287F8705CA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C6B39F4-5790-92F6-B6E3-C0AA6EC1FD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6312C-EAFF-4BED-94F5-BEE52E89B31E}" type="datetimeFigureOut">
              <a:rPr lang="en-US" smtClean="0"/>
              <a:t>2/1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0F2256-2291-F3D5-18FD-6ECD04C370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C513BA-7607-040F-FBDB-7C66B7B2D0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EEC150-AE8D-49EF-81A6-13FC777E18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21894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ight Triangle 11">
            <a:extLst>
              <a:ext uri="{FF2B5EF4-FFF2-40B4-BE49-F238E27FC236}">
                <a16:creationId xmlns:a16="http://schemas.microsoft.com/office/drawing/2014/main" id="{A96A95CD-957F-4BC0-8394-5DDDD2400DCC}"/>
              </a:ext>
            </a:extLst>
          </p:cNvPr>
          <p:cNvSpPr/>
          <p:nvPr userDrawn="1"/>
        </p:nvSpPr>
        <p:spPr>
          <a:xfrm flipH="1">
            <a:off x="6202680" y="0"/>
            <a:ext cx="5989320" cy="685800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1054F7-0094-4E42-9A01-FD46422B814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28676" y="2002762"/>
            <a:ext cx="4708525" cy="2039679"/>
          </a:xfrm>
        </p:spPr>
        <p:txBody>
          <a:bodyPr anchor="b">
            <a:noAutofit/>
          </a:bodyPr>
          <a:lstStyle>
            <a:lvl1pPr algn="l"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492F642-04C6-4A15-8130-383A8AF1895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28676" y="4134515"/>
            <a:ext cx="4708525" cy="1655762"/>
          </a:xfr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chemeClr val="accent3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84620D4E-02DF-43E9-B131-300B3148791F}"/>
              </a:ext>
            </a:extLst>
          </p:cNvPr>
          <p:cNvGrpSpPr/>
          <p:nvPr/>
        </p:nvGrpSpPr>
        <p:grpSpPr>
          <a:xfrm>
            <a:off x="828675" y="1653059"/>
            <a:ext cx="2651760" cy="91440"/>
            <a:chOff x="85490" y="5421819"/>
            <a:chExt cx="9411633" cy="295508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450E16C-ED0D-42F4-9149-C91C72D39147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0DEC8F3-80EE-4581-B342-D9C2253D9360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98F8A4E-773E-478E-B129-08C548CCD99D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F559C0E5-4DF6-444E-AD62-3D800CF1A3D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4965" y="811052"/>
            <a:ext cx="2118875" cy="662813"/>
          </a:xfrm>
          <a:prstGeom prst="rect">
            <a:avLst/>
          </a:prstGeom>
        </p:spPr>
      </p:pic>
      <p:pic>
        <p:nvPicPr>
          <p:cNvPr id="14" name="Picture 13" descr="A person standing in a room&#10;&#10;Description automatically generated">
            <a:extLst>
              <a:ext uri="{FF2B5EF4-FFF2-40B4-BE49-F238E27FC236}">
                <a16:creationId xmlns:a16="http://schemas.microsoft.com/office/drawing/2014/main" id="{B28E465A-6B60-4A47-930C-35B925AE3D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41520" y="0"/>
            <a:ext cx="7650480" cy="6858000"/>
          </a:xfrm>
          <a:custGeom>
            <a:avLst/>
            <a:gdLst>
              <a:gd name="connsiteX0" fmla="*/ 0 w 7650480"/>
              <a:gd name="connsiteY0" fmla="*/ 0 h 6858000"/>
              <a:gd name="connsiteX1" fmla="*/ 5163838 w 7650480"/>
              <a:gd name="connsiteY1" fmla="*/ 0 h 6858000"/>
              <a:gd name="connsiteX2" fmla="*/ 7650480 w 7650480"/>
              <a:gd name="connsiteY2" fmla="*/ 6858000 h 6858000"/>
              <a:gd name="connsiteX3" fmla="*/ 2486642 w 765048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650480" h="6858000">
                <a:moveTo>
                  <a:pt x="0" y="0"/>
                </a:moveTo>
                <a:lnTo>
                  <a:pt x="5163838" y="0"/>
                </a:lnTo>
                <a:lnTo>
                  <a:pt x="7650480" y="6858000"/>
                </a:lnTo>
                <a:lnTo>
                  <a:pt x="2486642" y="68580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4601221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27B63C0F-8F33-446C-8952-7FE888965D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AF2D8AF-E4BA-4E07-A0CD-8A1C15C79D9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33000">
                <a:schemeClr val="bg1">
                  <a:alpha val="76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3CD481-D636-4C1F-8C0E-34345BA983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50657" y="1784895"/>
            <a:ext cx="7020643" cy="2387600"/>
          </a:xfrm>
        </p:spPr>
        <p:txBody>
          <a:bodyPr anchor="b">
            <a:normAutofit/>
          </a:bodyPr>
          <a:lstStyle>
            <a:lvl1pPr algn="l">
              <a:defRPr sz="5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059D6C-29D2-4FF9-A9C9-0F22ADB691E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50657" y="4264572"/>
            <a:ext cx="7020643" cy="675059"/>
          </a:xfrm>
        </p:spPr>
        <p:txBody>
          <a:bodyPr>
            <a:normAutofit/>
          </a:bodyPr>
          <a:lstStyle>
            <a:lvl1pPr marL="0" indent="0" algn="l">
              <a:buNone/>
              <a:defRPr sz="20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CEDBB68-C37F-4D73-B245-61DD5AB04CB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063398" y="5948943"/>
            <a:ext cx="1607903" cy="502974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DB9ACBB8-27E0-403E-B233-AB1E62520393}"/>
              </a:ext>
            </a:extLst>
          </p:cNvPr>
          <p:cNvGrpSpPr/>
          <p:nvPr userDrawn="1"/>
        </p:nvGrpSpPr>
        <p:grpSpPr>
          <a:xfrm>
            <a:off x="4650658" y="1242825"/>
            <a:ext cx="7541343" cy="73152"/>
            <a:chOff x="85490" y="5421819"/>
            <a:chExt cx="9411633" cy="295508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4E7510A-5349-4DAB-B2A1-5693372E2531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6E18970-1453-435B-BE60-293F490C1049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15AFF5BC-CF81-4679-9C53-1F50CE22BC37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451F11A-AC8B-45E8-9862-3E634CCD7B76}"/>
              </a:ext>
            </a:extLst>
          </p:cNvPr>
          <p:cNvGrpSpPr/>
          <p:nvPr userDrawn="1"/>
        </p:nvGrpSpPr>
        <p:grpSpPr>
          <a:xfrm>
            <a:off x="4650658" y="5542023"/>
            <a:ext cx="7541343" cy="73152"/>
            <a:chOff x="85490" y="5421819"/>
            <a:chExt cx="9411633" cy="295508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F03D290-6CD8-4DC9-98F3-1607A110BD6C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67DFD31-699C-4FD4-B33F-A6E1FD5ED14B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F489410C-1931-489D-8ACD-29268E9A853F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34724591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1C9D8FA9-1135-4CD2-AF0C-BD10278D5D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343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18E1250-0D56-48D5-A17F-C98106D18E77}"/>
              </a:ext>
            </a:extLst>
          </p:cNvPr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46000">
                <a:schemeClr val="bg1">
                  <a:alpha val="45000"/>
                </a:schemeClr>
              </a:gs>
              <a:gs pos="67000">
                <a:schemeClr val="bg1">
                  <a:alpha val="75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492F642-04C6-4A15-8130-383A8AF1895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788921" y="4449597"/>
            <a:ext cx="8564880" cy="1655762"/>
          </a:xfrm>
        </p:spPr>
        <p:txBody>
          <a:bodyPr lIns="0" rIns="0">
            <a:normAutofit/>
          </a:bodyPr>
          <a:lstStyle>
            <a:lvl1pPr marL="0" indent="0" algn="l">
              <a:buNone/>
              <a:defRPr sz="4000">
                <a:solidFill>
                  <a:schemeClr val="accent3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9146305-B5BA-4A6D-9A77-0CFEFA409660}"/>
              </a:ext>
            </a:extLst>
          </p:cNvPr>
          <p:cNvSpPr/>
          <p:nvPr userDrawn="1"/>
        </p:nvSpPr>
        <p:spPr>
          <a:xfrm>
            <a:off x="0" y="2514600"/>
            <a:ext cx="2484120" cy="1828800"/>
          </a:xfrm>
          <a:prstGeom prst="rect">
            <a:avLst/>
          </a:prstGeom>
          <a:solidFill>
            <a:schemeClr val="bg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F97AD66-2EF3-42D7-8B72-545284D39CB7}"/>
              </a:ext>
            </a:extLst>
          </p:cNvPr>
          <p:cNvSpPr/>
          <p:nvPr userDrawn="1"/>
        </p:nvSpPr>
        <p:spPr>
          <a:xfrm>
            <a:off x="2590800" y="2514600"/>
            <a:ext cx="9601200" cy="1828800"/>
          </a:xfrm>
          <a:prstGeom prst="rect">
            <a:avLst/>
          </a:prstGeom>
          <a:solidFill>
            <a:schemeClr val="tx2">
              <a:alpha val="8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1054F7-0094-4E42-9A01-FD46422B814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88921" y="2665083"/>
            <a:ext cx="8564880" cy="1527839"/>
          </a:xfrm>
        </p:spPr>
        <p:txBody>
          <a:bodyPr lIns="0" rIns="0" anchor="ctr">
            <a:no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84620D4E-02DF-43E9-B131-300B3148791F}"/>
              </a:ext>
            </a:extLst>
          </p:cNvPr>
          <p:cNvGrpSpPr/>
          <p:nvPr/>
        </p:nvGrpSpPr>
        <p:grpSpPr>
          <a:xfrm>
            <a:off x="0" y="6766560"/>
            <a:ext cx="12192000" cy="91440"/>
            <a:chOff x="85490" y="5421819"/>
            <a:chExt cx="9411633" cy="295508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450E16C-ED0D-42F4-9149-C91C72D39147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0DEC8F3-80EE-4581-B342-D9C2253D9360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98F8A4E-773E-478E-B129-08C548CCD99D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187E635A-0851-4267-B0E7-5FCC04399F3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7040" y="3180307"/>
            <a:ext cx="1590040" cy="497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42685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66EDABF6-35F5-42D7-B234-3A09B318D3D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0"/>
            <a:ext cx="12191999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2191E20-89C2-4A82-92EC-8A079437F6FD}"/>
              </a:ext>
            </a:extLst>
          </p:cNvPr>
          <p:cNvSpPr/>
          <p:nvPr userDrawn="1"/>
        </p:nvSpPr>
        <p:spPr>
          <a:xfrm>
            <a:off x="2" y="3952368"/>
            <a:ext cx="12191999" cy="2905632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45746EF-22B3-4650-B507-00307F4459E2}"/>
              </a:ext>
            </a:extLst>
          </p:cNvPr>
          <p:cNvSpPr/>
          <p:nvPr userDrawn="1"/>
        </p:nvSpPr>
        <p:spPr>
          <a:xfrm>
            <a:off x="0" y="-1"/>
            <a:ext cx="12192000" cy="3952369"/>
          </a:xfrm>
          <a:prstGeom prst="rect">
            <a:avLst/>
          </a:prstGeom>
          <a:solidFill>
            <a:schemeClr val="tx2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A8D66F17-D411-48D6-9CEC-923B5660D9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18777" y="1744858"/>
            <a:ext cx="7135657" cy="2039679"/>
          </a:xfrm>
        </p:spPr>
        <p:txBody>
          <a:bodyPr anchor="b">
            <a:noAutofit/>
          </a:bodyPr>
          <a:lstStyle>
            <a:lvl1pPr algn="l">
              <a:defRPr sz="48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2658F5B-C1E5-468F-BF02-D376E810E06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21924" y="5918045"/>
            <a:ext cx="1590040" cy="497388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2AC980DE-BC68-4AF0-BB32-4A758500A364}"/>
              </a:ext>
            </a:extLst>
          </p:cNvPr>
          <p:cNvGrpSpPr/>
          <p:nvPr userDrawn="1"/>
        </p:nvGrpSpPr>
        <p:grpSpPr>
          <a:xfrm rot="5400000">
            <a:off x="3102497" y="3110793"/>
            <a:ext cx="103208" cy="4780344"/>
            <a:chOff x="336631" y="601884"/>
            <a:chExt cx="103208" cy="4780344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2B65C1D4-0E74-4678-8C04-25EE59889422}"/>
                </a:ext>
              </a:extLst>
            </p:cNvPr>
            <p:cNvSpPr/>
            <p:nvPr userDrawn="1"/>
          </p:nvSpPr>
          <p:spPr>
            <a:xfrm>
              <a:off x="336631" y="601884"/>
              <a:ext cx="103208" cy="335048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/>
              <a:endParaRPr lang="en-IN" sz="1400" b="1" dirty="0">
                <a:solidFill>
                  <a:schemeClr val="bg1"/>
                </a:solidFill>
              </a:endParaRP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0FF76018-4921-4DB0-9149-771E026EDFDC}"/>
                </a:ext>
              </a:extLst>
            </p:cNvPr>
            <p:cNvGrpSpPr/>
            <p:nvPr userDrawn="1"/>
          </p:nvGrpSpPr>
          <p:grpSpPr>
            <a:xfrm>
              <a:off x="336631" y="3952369"/>
              <a:ext cx="103208" cy="1429859"/>
              <a:chOff x="336631" y="3952369"/>
              <a:chExt cx="103208" cy="1950720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B1621A56-4F7F-42B2-9F1C-EBB72C6280EE}"/>
                  </a:ext>
                </a:extLst>
              </p:cNvPr>
              <p:cNvSpPr/>
              <p:nvPr userDrawn="1"/>
            </p:nvSpPr>
            <p:spPr>
              <a:xfrm>
                <a:off x="336631" y="3952369"/>
                <a:ext cx="103208" cy="97536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/>
                <a:endParaRPr lang="en-IN" sz="1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5F0D8E01-BF0B-4819-BB20-0E5021BD8744}"/>
                  </a:ext>
                </a:extLst>
              </p:cNvPr>
              <p:cNvSpPr/>
              <p:nvPr userDrawn="1"/>
            </p:nvSpPr>
            <p:spPr>
              <a:xfrm>
                <a:off x="336631" y="4927729"/>
                <a:ext cx="103208" cy="97536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/>
                <a:endParaRPr lang="en-IN" sz="1400" b="1" dirty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43" name="Subtitle 2">
            <a:extLst>
              <a:ext uri="{FF2B5EF4-FFF2-40B4-BE49-F238E27FC236}">
                <a16:creationId xmlns:a16="http://schemas.microsoft.com/office/drawing/2014/main" id="{99F741D4-1787-43B4-8E82-3D847D78DC8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18775" y="4113160"/>
            <a:ext cx="7109519" cy="381700"/>
          </a:xfrm>
        </p:spPr>
        <p:txBody>
          <a:bodyPr>
            <a:noAutofit/>
          </a:bodyPr>
          <a:lstStyle>
            <a:lvl1pPr marL="0" indent="0" algn="l">
              <a:buNone/>
              <a:defRPr sz="3200">
                <a:solidFill>
                  <a:schemeClr val="accent3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D99F6C7C-D79F-4A77-BB06-145951DCFEE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611564" y="2352168"/>
            <a:ext cx="3200400" cy="3200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755BA82-19CC-42A0-8897-A3C212D005D6}"/>
              </a:ext>
            </a:extLst>
          </p:cNvPr>
          <p:cNvSpPr/>
          <p:nvPr userDrawn="1"/>
        </p:nvSpPr>
        <p:spPr>
          <a:xfrm>
            <a:off x="763930" y="601884"/>
            <a:ext cx="10868628" cy="4780344"/>
          </a:xfrm>
          <a:prstGeom prst="rect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5F98D67C-CC37-4E83-936F-032B39F1ADEB}"/>
              </a:ext>
            </a:extLst>
          </p:cNvPr>
          <p:cNvSpPr/>
          <p:nvPr userDrawn="1"/>
        </p:nvSpPr>
        <p:spPr>
          <a:xfrm>
            <a:off x="763929" y="3952371"/>
            <a:ext cx="7847635" cy="1429859"/>
          </a:xfrm>
          <a:custGeom>
            <a:avLst/>
            <a:gdLst>
              <a:gd name="connsiteX0" fmla="*/ 0 w 4120587"/>
              <a:gd name="connsiteY0" fmla="*/ 0 h 1608881"/>
              <a:gd name="connsiteX1" fmla="*/ 0 w 4120587"/>
              <a:gd name="connsiteY1" fmla="*/ 1608881 h 1608881"/>
              <a:gd name="connsiteX2" fmla="*/ 4120587 w 4120587"/>
              <a:gd name="connsiteY2" fmla="*/ 1608881 h 1608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120587" h="1608881">
                <a:moveTo>
                  <a:pt x="0" y="0"/>
                </a:moveTo>
                <a:lnTo>
                  <a:pt x="0" y="1608881"/>
                </a:lnTo>
                <a:lnTo>
                  <a:pt x="4120587" y="1608881"/>
                </a:lnTo>
              </a:path>
            </a:pathLst>
          </a:custGeom>
          <a:noFill/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</p:spTree>
    <p:extLst>
      <p:ext uri="{BB962C8B-B14F-4D97-AF65-F5344CB8AC3E}">
        <p14:creationId xmlns:p14="http://schemas.microsoft.com/office/powerpoint/2010/main" val="39496093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Layout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5C66D599-7577-4184-9449-1397085E82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68608"/>
          <a:stretch/>
        </p:blipFill>
        <p:spPr>
          <a:xfrm>
            <a:off x="1912621" y="2"/>
            <a:ext cx="10279380" cy="2152891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21173ABD-30E7-4620-987D-2B1733E4B6FD}"/>
              </a:ext>
            </a:extLst>
          </p:cNvPr>
          <p:cNvSpPr/>
          <p:nvPr userDrawn="1"/>
        </p:nvSpPr>
        <p:spPr>
          <a:xfrm>
            <a:off x="1909823" y="1996633"/>
            <a:ext cx="10279380" cy="156259"/>
          </a:xfrm>
          <a:prstGeom prst="rect">
            <a:avLst/>
          </a:prstGeom>
          <a:solidFill>
            <a:schemeClr val="bg1">
              <a:alpha val="8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8AC7776-C178-4220-AC52-66FC2C0A5CF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51799" y="6358172"/>
            <a:ext cx="896112" cy="280035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027D0F58-02F5-4247-92DC-254F3047E26D}"/>
              </a:ext>
            </a:extLst>
          </p:cNvPr>
          <p:cNvGrpSpPr/>
          <p:nvPr userDrawn="1"/>
        </p:nvGrpSpPr>
        <p:grpSpPr>
          <a:xfrm>
            <a:off x="1215341" y="763929"/>
            <a:ext cx="1388963" cy="1388962"/>
            <a:chOff x="868101" y="335665"/>
            <a:chExt cx="2083444" cy="2083444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4724588-496E-47E8-8934-6C82A0A3DCB6}"/>
                </a:ext>
              </a:extLst>
            </p:cNvPr>
            <p:cNvSpPr/>
            <p:nvPr userDrawn="1"/>
          </p:nvSpPr>
          <p:spPr>
            <a:xfrm>
              <a:off x="868101" y="335665"/>
              <a:ext cx="1041722" cy="208344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IN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E788F954-B94D-43E5-93AC-CF148335EE56}"/>
                </a:ext>
              </a:extLst>
            </p:cNvPr>
            <p:cNvSpPr/>
            <p:nvPr userDrawn="1"/>
          </p:nvSpPr>
          <p:spPr>
            <a:xfrm>
              <a:off x="1909823" y="335665"/>
              <a:ext cx="1041722" cy="2083444"/>
            </a:xfrm>
            <a:prstGeom prst="rect">
              <a:avLst/>
            </a:prstGeom>
            <a:solidFill>
              <a:schemeClr val="accent1">
                <a:alpha val="8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IN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AF545333-D923-4E58-9205-1B4750D7F049}"/>
              </a:ext>
            </a:extLst>
          </p:cNvPr>
          <p:cNvSpPr/>
          <p:nvPr userDrawn="1"/>
        </p:nvSpPr>
        <p:spPr>
          <a:xfrm>
            <a:off x="1909823" y="2152893"/>
            <a:ext cx="10279380" cy="32524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A81D6D1-C8A5-4E97-9839-C45FA942E1B5}"/>
              </a:ext>
            </a:extLst>
          </p:cNvPr>
          <p:cNvGrpSpPr/>
          <p:nvPr userDrawn="1"/>
        </p:nvGrpSpPr>
        <p:grpSpPr>
          <a:xfrm>
            <a:off x="11112758" y="4861367"/>
            <a:ext cx="1076447" cy="1076446"/>
            <a:chOff x="868101" y="335665"/>
            <a:chExt cx="2083444" cy="2083444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D717A307-CB9B-4BF3-803E-750EF71B1C1C}"/>
                </a:ext>
              </a:extLst>
            </p:cNvPr>
            <p:cNvSpPr/>
            <p:nvPr userDrawn="1"/>
          </p:nvSpPr>
          <p:spPr>
            <a:xfrm>
              <a:off x="868101" y="335665"/>
              <a:ext cx="1041722" cy="208344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IN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BE629C80-ED07-4761-BB0C-17B4D19DCC1E}"/>
                </a:ext>
              </a:extLst>
            </p:cNvPr>
            <p:cNvSpPr/>
            <p:nvPr userDrawn="1"/>
          </p:nvSpPr>
          <p:spPr>
            <a:xfrm>
              <a:off x="1909823" y="335665"/>
              <a:ext cx="1041722" cy="2083444"/>
            </a:xfrm>
            <a:prstGeom prst="rect">
              <a:avLst/>
            </a:prstGeom>
            <a:solidFill>
              <a:schemeClr val="accent2">
                <a:alpha val="8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IN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9" name="Title 1">
            <a:extLst>
              <a:ext uri="{FF2B5EF4-FFF2-40B4-BE49-F238E27FC236}">
                <a16:creationId xmlns:a16="http://schemas.microsoft.com/office/drawing/2014/main" id="{E0984669-C67A-4795-88E3-E2D58361B68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27455" y="2663805"/>
            <a:ext cx="8090703" cy="2039679"/>
          </a:xfrm>
        </p:spPr>
        <p:txBody>
          <a:bodyPr anchor="b"/>
          <a:lstStyle>
            <a:lvl1pPr algn="l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706373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 descr="A large glass window&#10;&#10;Description automatically generated">
            <a:extLst>
              <a:ext uri="{FF2B5EF4-FFF2-40B4-BE49-F238E27FC236}">
                <a16:creationId xmlns:a16="http://schemas.microsoft.com/office/drawing/2014/main" id="{7C6E1904-BDA0-4F33-953D-DA3A839AB0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1" t="8802" r="-1" b="34826"/>
          <a:stretch/>
        </p:blipFill>
        <p:spPr>
          <a:xfrm>
            <a:off x="0" y="0"/>
            <a:ext cx="12192000" cy="458724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8D88249-25C7-41BB-BC5F-B63AE2B0ACC6}"/>
              </a:ext>
            </a:extLst>
          </p:cNvPr>
          <p:cNvSpPr/>
          <p:nvPr userDrawn="1"/>
        </p:nvSpPr>
        <p:spPr>
          <a:xfrm>
            <a:off x="0" y="0"/>
            <a:ext cx="12192000" cy="4587240"/>
          </a:xfrm>
          <a:prstGeom prst="rect">
            <a:avLst/>
          </a:prstGeom>
          <a:solidFill>
            <a:schemeClr val="tx2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AB00BF44-CC26-47A8-A04F-8C4AF16445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95402" y="3517245"/>
            <a:ext cx="9601199" cy="871877"/>
          </a:xfrm>
        </p:spPr>
        <p:txBody>
          <a:bodyPr anchor="ctr">
            <a:norm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549016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1FA644AA-2F5D-4BD8-93D1-0AC91F624102}"/>
              </a:ext>
            </a:extLst>
          </p:cNvPr>
          <p:cNvGrpSpPr/>
          <p:nvPr userDrawn="1"/>
        </p:nvGrpSpPr>
        <p:grpSpPr>
          <a:xfrm>
            <a:off x="2378879" y="3261360"/>
            <a:ext cx="7434245" cy="106680"/>
            <a:chOff x="85490" y="5421819"/>
            <a:chExt cx="9411633" cy="295508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055B618-A6BF-4CCA-8792-E9C794632BDE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0D65777-04A9-4DBC-B423-D0A3D5FA0D0F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BD866750-FAEB-4609-977C-07D1A5922D35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CED383FA-24ED-4262-A907-2416D26200C4}"/>
              </a:ext>
            </a:extLst>
          </p:cNvPr>
          <p:cNvSpPr/>
          <p:nvPr userDrawn="1"/>
        </p:nvSpPr>
        <p:spPr>
          <a:xfrm>
            <a:off x="0" y="0"/>
            <a:ext cx="12192000" cy="762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44A3BFEC-C206-4256-B555-7869EDB7C0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95402" y="3837285"/>
            <a:ext cx="9601199" cy="871877"/>
          </a:xfrm>
        </p:spPr>
        <p:txBody>
          <a:bodyPr anchor="ctr">
            <a:normAutofit/>
          </a:bodyPr>
          <a:lstStyle>
            <a:lvl1pPr algn="ctr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094B62B-7A7B-43C0-99A3-79EFDBFC93BC}"/>
              </a:ext>
            </a:extLst>
          </p:cNvPr>
          <p:cNvGrpSpPr/>
          <p:nvPr userDrawn="1"/>
        </p:nvGrpSpPr>
        <p:grpSpPr>
          <a:xfrm>
            <a:off x="1" y="6730738"/>
            <a:ext cx="5584167" cy="137160"/>
            <a:chOff x="85490" y="5421819"/>
            <a:chExt cx="9411633" cy="295508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B225D0C-6057-43DF-98C2-7112A23EC506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6ABC217F-3980-4792-B5BF-13666B914853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3E675F18-A1C6-4CDA-89AF-C40B04EC8B63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923C6105-FE7B-4001-ADDB-7AD460F3E2A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1799" y="6357889"/>
            <a:ext cx="896112" cy="280316"/>
          </a:xfrm>
          <a:prstGeom prst="rect">
            <a:avLst/>
          </a:prstGeom>
        </p:spPr>
      </p:pic>
      <p:pic>
        <p:nvPicPr>
          <p:cNvPr id="3" name="Picture 2" descr="A large building in the background&#10;&#10;Description automatically generated">
            <a:extLst>
              <a:ext uri="{FF2B5EF4-FFF2-40B4-BE49-F238E27FC236}">
                <a16:creationId xmlns:a16="http://schemas.microsoft.com/office/drawing/2014/main" id="{76D095FB-F051-475D-9FEE-D603B0E0E9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-7" t="25973" r="6" b="36388"/>
          <a:stretch/>
        </p:blipFill>
        <p:spPr>
          <a:xfrm>
            <a:off x="0" y="243840"/>
            <a:ext cx="12192000" cy="30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96199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1FA644AA-2F5D-4BD8-93D1-0AC91F624102}"/>
              </a:ext>
            </a:extLst>
          </p:cNvPr>
          <p:cNvGrpSpPr/>
          <p:nvPr userDrawn="1"/>
        </p:nvGrpSpPr>
        <p:grpSpPr>
          <a:xfrm>
            <a:off x="2378879" y="3261360"/>
            <a:ext cx="7434245" cy="106680"/>
            <a:chOff x="85490" y="5421819"/>
            <a:chExt cx="9411633" cy="295508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055B618-A6BF-4CCA-8792-E9C794632BDE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0D65777-04A9-4DBC-B423-D0A3D5FA0D0F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BD866750-FAEB-4609-977C-07D1A5922D35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CED383FA-24ED-4262-A907-2416D26200C4}"/>
              </a:ext>
            </a:extLst>
          </p:cNvPr>
          <p:cNvSpPr/>
          <p:nvPr userDrawn="1"/>
        </p:nvSpPr>
        <p:spPr>
          <a:xfrm>
            <a:off x="0" y="0"/>
            <a:ext cx="12192000" cy="76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44A3BFEC-C206-4256-B555-7869EDB7C0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95402" y="3837285"/>
            <a:ext cx="9601199" cy="871877"/>
          </a:xfrm>
        </p:spPr>
        <p:txBody>
          <a:bodyPr anchor="ctr">
            <a:normAutofit/>
          </a:bodyPr>
          <a:lstStyle>
            <a:lvl1pPr algn="ctr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094B62B-7A7B-43C0-99A3-79EFDBFC93BC}"/>
              </a:ext>
            </a:extLst>
          </p:cNvPr>
          <p:cNvGrpSpPr/>
          <p:nvPr userDrawn="1"/>
        </p:nvGrpSpPr>
        <p:grpSpPr>
          <a:xfrm>
            <a:off x="1" y="6730738"/>
            <a:ext cx="5584167" cy="137160"/>
            <a:chOff x="85490" y="5421819"/>
            <a:chExt cx="9411633" cy="295508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B225D0C-6057-43DF-98C2-7112A23EC506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6ABC217F-3980-4792-B5BF-13666B914853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3E675F18-A1C6-4CDA-89AF-C40B04EC8B63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923C6105-FE7B-4001-ADDB-7AD460F3E2A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1799" y="6357889"/>
            <a:ext cx="896112" cy="28031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5E56D46-5CC3-431A-9C2B-F4E35F4E87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5100" b="13978"/>
          <a:stretch/>
        </p:blipFill>
        <p:spPr>
          <a:xfrm>
            <a:off x="0" y="221012"/>
            <a:ext cx="12192000" cy="3048000"/>
          </a:xfrm>
          <a:custGeom>
            <a:avLst/>
            <a:gdLst>
              <a:gd name="connsiteX0" fmla="*/ 0 w 12192000"/>
              <a:gd name="connsiteY0" fmla="*/ 0 h 3048000"/>
              <a:gd name="connsiteX1" fmla="*/ 12192000 w 12192000"/>
              <a:gd name="connsiteY1" fmla="*/ 0 h 3048000"/>
              <a:gd name="connsiteX2" fmla="*/ 12192000 w 12192000"/>
              <a:gd name="connsiteY2" fmla="*/ 3048000 h 3048000"/>
              <a:gd name="connsiteX3" fmla="*/ 0 w 12192000"/>
              <a:gd name="connsiteY3" fmla="*/ 3048000 h 30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048000">
                <a:moveTo>
                  <a:pt x="0" y="0"/>
                </a:moveTo>
                <a:lnTo>
                  <a:pt x="12192000" y="0"/>
                </a:lnTo>
                <a:lnTo>
                  <a:pt x="12192000" y="3048000"/>
                </a:lnTo>
                <a:lnTo>
                  <a:pt x="0" y="30480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0587307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CDE478-925F-D504-CA53-7ABEC24121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FB2040-6BDE-F569-EB2D-2F228E7FC2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638594-7D30-44B5-FB0F-0D4C9F2F5F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6312C-EAFF-4BED-94F5-BEE52E89B31E}" type="datetimeFigureOut">
              <a:rPr lang="en-US" smtClean="0"/>
              <a:t>2/1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98ACE1-9AE8-6984-4673-F8E72CEE20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ABDC51-A9B2-98FF-A067-4B278934CD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EEC150-AE8D-49EF-81A6-13FC777E18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096678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1FA644AA-2F5D-4BD8-93D1-0AC91F624102}"/>
              </a:ext>
            </a:extLst>
          </p:cNvPr>
          <p:cNvGrpSpPr/>
          <p:nvPr userDrawn="1"/>
        </p:nvGrpSpPr>
        <p:grpSpPr>
          <a:xfrm>
            <a:off x="2378879" y="3261360"/>
            <a:ext cx="7434245" cy="106680"/>
            <a:chOff x="85490" y="5421819"/>
            <a:chExt cx="9411633" cy="295508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055B618-A6BF-4CCA-8792-E9C794632BDE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0D65777-04A9-4DBC-B423-D0A3D5FA0D0F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BD866750-FAEB-4609-977C-07D1A5922D35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CED383FA-24ED-4262-A907-2416D26200C4}"/>
              </a:ext>
            </a:extLst>
          </p:cNvPr>
          <p:cNvSpPr/>
          <p:nvPr userDrawn="1"/>
        </p:nvSpPr>
        <p:spPr>
          <a:xfrm>
            <a:off x="0" y="0"/>
            <a:ext cx="12192000" cy="76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44A3BFEC-C206-4256-B555-7869EDB7C0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20589" y="5626172"/>
            <a:ext cx="9601199" cy="871877"/>
          </a:xfrm>
        </p:spPr>
        <p:txBody>
          <a:bodyPr anchor="ctr">
            <a:normAutofit/>
          </a:bodyPr>
          <a:lstStyle>
            <a:lvl1pPr algn="ctr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094B62B-7A7B-43C0-99A3-79EFDBFC93BC}"/>
              </a:ext>
            </a:extLst>
          </p:cNvPr>
          <p:cNvGrpSpPr/>
          <p:nvPr userDrawn="1"/>
        </p:nvGrpSpPr>
        <p:grpSpPr>
          <a:xfrm>
            <a:off x="1" y="6730738"/>
            <a:ext cx="5584167" cy="137160"/>
            <a:chOff x="85490" y="5421819"/>
            <a:chExt cx="9411633" cy="295508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B225D0C-6057-43DF-98C2-7112A23EC506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6ABC217F-3980-4792-B5BF-13666B914853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3E675F18-A1C6-4CDA-89AF-C40B04EC8B63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923C6105-FE7B-4001-ADDB-7AD460F3E2A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1799" y="6357889"/>
            <a:ext cx="896112" cy="28031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5E56D46-5CC3-431A-9C2B-F4E35F4E87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5100" b="13978"/>
          <a:stretch/>
        </p:blipFill>
        <p:spPr>
          <a:xfrm>
            <a:off x="0" y="94611"/>
            <a:ext cx="12192000" cy="5439026"/>
          </a:xfrm>
          <a:custGeom>
            <a:avLst/>
            <a:gdLst>
              <a:gd name="connsiteX0" fmla="*/ 0 w 12192000"/>
              <a:gd name="connsiteY0" fmla="*/ 0 h 3048000"/>
              <a:gd name="connsiteX1" fmla="*/ 12192000 w 12192000"/>
              <a:gd name="connsiteY1" fmla="*/ 0 h 3048000"/>
              <a:gd name="connsiteX2" fmla="*/ 12192000 w 12192000"/>
              <a:gd name="connsiteY2" fmla="*/ 3048000 h 3048000"/>
              <a:gd name="connsiteX3" fmla="*/ 0 w 12192000"/>
              <a:gd name="connsiteY3" fmla="*/ 3048000 h 30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048000">
                <a:moveTo>
                  <a:pt x="0" y="0"/>
                </a:moveTo>
                <a:lnTo>
                  <a:pt x="12192000" y="0"/>
                </a:lnTo>
                <a:lnTo>
                  <a:pt x="12192000" y="3048000"/>
                </a:lnTo>
                <a:lnTo>
                  <a:pt x="0" y="3048000"/>
                </a:lnTo>
                <a:close/>
              </a:path>
            </a:pathLst>
          </a:cu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F4B9A0DF-4A5B-46EA-B19F-8DB4CD105E64}"/>
              </a:ext>
            </a:extLst>
          </p:cNvPr>
          <p:cNvSpPr/>
          <p:nvPr userDrawn="1"/>
        </p:nvSpPr>
        <p:spPr>
          <a:xfrm>
            <a:off x="0" y="8709"/>
            <a:ext cx="12192000" cy="5617462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"/>
                </a:schemeClr>
              </a:gs>
              <a:gs pos="51000">
                <a:schemeClr val="bg1">
                  <a:alpha val="52000"/>
                </a:schemeClr>
              </a:gs>
              <a:gs pos="75000">
                <a:schemeClr val="bg1">
                  <a:alpha val="75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418855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E7EFAB85-C861-40F5-B5BE-AE12A6F9CD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E7EFAB85-C861-40F5-B5BE-AE12A6F9CD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626B541D-A119-4858-AB22-B0A436281E1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5400" b="0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8" name="Picture 17" descr="A group of people standing next to a person&#10;&#10;Description automatically generated">
            <a:extLst>
              <a:ext uri="{FF2B5EF4-FFF2-40B4-BE49-F238E27FC236}">
                <a16:creationId xmlns:a16="http://schemas.microsoft.com/office/drawing/2014/main" id="{0BBEFED3-2D51-43DE-9389-766AC09DC9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3657601" y="-2256"/>
            <a:ext cx="1754009" cy="6560453"/>
          </a:xfrm>
          <a:custGeom>
            <a:avLst/>
            <a:gdLst>
              <a:gd name="connsiteX0" fmla="*/ 1754009 w 1754009"/>
              <a:gd name="connsiteY0" fmla="*/ 0 h 6560453"/>
              <a:gd name="connsiteX1" fmla="*/ 0 w 1754009"/>
              <a:gd name="connsiteY1" fmla="*/ 0 h 6560453"/>
              <a:gd name="connsiteX2" fmla="*/ 0 w 1754009"/>
              <a:gd name="connsiteY2" fmla="*/ 6560453 h 6560453"/>
              <a:gd name="connsiteX3" fmla="*/ 1754009 w 1754009"/>
              <a:gd name="connsiteY3" fmla="*/ 6560453 h 6560453"/>
              <a:gd name="connsiteX4" fmla="*/ 1754009 w 1754009"/>
              <a:gd name="connsiteY4" fmla="*/ 0 h 65604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54009" h="6560453">
                <a:moveTo>
                  <a:pt x="1754009" y="0"/>
                </a:moveTo>
                <a:lnTo>
                  <a:pt x="0" y="0"/>
                </a:lnTo>
                <a:lnTo>
                  <a:pt x="0" y="6560453"/>
                </a:lnTo>
                <a:lnTo>
                  <a:pt x="1754009" y="6560453"/>
                </a:lnTo>
                <a:lnTo>
                  <a:pt x="1754009" y="0"/>
                </a:lnTo>
                <a:close/>
              </a:path>
            </a:pathLst>
          </a:custGeom>
        </p:spPr>
      </p:pic>
      <p:pic>
        <p:nvPicPr>
          <p:cNvPr id="23" name="Picture 22" descr="A group of people standing next to a person&#10;&#10;Description automatically generated">
            <a:extLst>
              <a:ext uri="{FF2B5EF4-FFF2-40B4-BE49-F238E27FC236}">
                <a16:creationId xmlns:a16="http://schemas.microsoft.com/office/drawing/2014/main" id="{168FFC86-3869-436B-BC36-70355B53FC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" y="0"/>
            <a:ext cx="1754009" cy="5336724"/>
          </a:xfrm>
          <a:custGeom>
            <a:avLst/>
            <a:gdLst>
              <a:gd name="connsiteX0" fmla="*/ 1754009 w 1754009"/>
              <a:gd name="connsiteY0" fmla="*/ 0 h 5336724"/>
              <a:gd name="connsiteX1" fmla="*/ 0 w 1754009"/>
              <a:gd name="connsiteY1" fmla="*/ 0 h 5336724"/>
              <a:gd name="connsiteX2" fmla="*/ 0 w 1754009"/>
              <a:gd name="connsiteY2" fmla="*/ 5336724 h 5336724"/>
              <a:gd name="connsiteX3" fmla="*/ 1754009 w 1754009"/>
              <a:gd name="connsiteY3" fmla="*/ 5336724 h 5336724"/>
              <a:gd name="connsiteX4" fmla="*/ 1754009 w 1754009"/>
              <a:gd name="connsiteY4" fmla="*/ 0 h 5336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54009" h="5336724">
                <a:moveTo>
                  <a:pt x="1754009" y="0"/>
                </a:moveTo>
                <a:lnTo>
                  <a:pt x="0" y="0"/>
                </a:lnTo>
                <a:lnTo>
                  <a:pt x="0" y="5336724"/>
                </a:lnTo>
                <a:lnTo>
                  <a:pt x="1754009" y="5336724"/>
                </a:lnTo>
                <a:lnTo>
                  <a:pt x="1754009" y="0"/>
                </a:lnTo>
                <a:close/>
              </a:path>
            </a:pathLst>
          </a:custGeom>
        </p:spPr>
      </p:pic>
      <p:pic>
        <p:nvPicPr>
          <p:cNvPr id="28" name="Picture 27" descr="A group of people standing next to a person&#10;&#10;Description automatically generated">
            <a:extLst>
              <a:ext uri="{FF2B5EF4-FFF2-40B4-BE49-F238E27FC236}">
                <a16:creationId xmlns:a16="http://schemas.microsoft.com/office/drawing/2014/main" id="{9987AC17-7D9F-43F1-B473-6DD277F7CE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828802" y="821805"/>
            <a:ext cx="1754009" cy="6036197"/>
          </a:xfrm>
          <a:custGeom>
            <a:avLst/>
            <a:gdLst>
              <a:gd name="connsiteX0" fmla="*/ 1754009 w 1754009"/>
              <a:gd name="connsiteY0" fmla="*/ 0 h 6036197"/>
              <a:gd name="connsiteX1" fmla="*/ 0 w 1754009"/>
              <a:gd name="connsiteY1" fmla="*/ 0 h 6036197"/>
              <a:gd name="connsiteX2" fmla="*/ 0 w 1754009"/>
              <a:gd name="connsiteY2" fmla="*/ 6036197 h 6036197"/>
              <a:gd name="connsiteX3" fmla="*/ 1754009 w 1754009"/>
              <a:gd name="connsiteY3" fmla="*/ 6036197 h 6036197"/>
              <a:gd name="connsiteX4" fmla="*/ 1754009 w 1754009"/>
              <a:gd name="connsiteY4" fmla="*/ 0 h 6036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54009" h="6036197">
                <a:moveTo>
                  <a:pt x="1754009" y="0"/>
                </a:moveTo>
                <a:lnTo>
                  <a:pt x="0" y="0"/>
                </a:lnTo>
                <a:lnTo>
                  <a:pt x="0" y="6036197"/>
                </a:lnTo>
                <a:lnTo>
                  <a:pt x="1754009" y="6036197"/>
                </a:lnTo>
                <a:lnTo>
                  <a:pt x="1754009" y="0"/>
                </a:lnTo>
                <a:close/>
              </a:path>
            </a:pathLst>
          </a:custGeom>
        </p:spPr>
      </p:pic>
      <p:grpSp>
        <p:nvGrpSpPr>
          <p:cNvPr id="32" name="Group 31">
            <a:extLst>
              <a:ext uri="{FF2B5EF4-FFF2-40B4-BE49-F238E27FC236}">
                <a16:creationId xmlns:a16="http://schemas.microsoft.com/office/drawing/2014/main" id="{E009A6E4-5F52-4BB6-82B3-9B77E9BFCCEB}"/>
              </a:ext>
            </a:extLst>
          </p:cNvPr>
          <p:cNvGrpSpPr/>
          <p:nvPr userDrawn="1"/>
        </p:nvGrpSpPr>
        <p:grpSpPr>
          <a:xfrm>
            <a:off x="5750178" y="2668364"/>
            <a:ext cx="3324375" cy="82931"/>
            <a:chOff x="85490" y="5421819"/>
            <a:chExt cx="9411633" cy="295508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605223CD-95B3-4D00-A487-1A75887306F4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9CFE27E9-458A-430D-9942-C42C32F84ECD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45896368-596F-4F1A-AC91-EDE3E6E53328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479128A7-F57B-4CF6-A530-A845D03C6D10}"/>
              </a:ext>
            </a:extLst>
          </p:cNvPr>
          <p:cNvSpPr/>
          <p:nvPr userDrawn="1"/>
        </p:nvSpPr>
        <p:spPr>
          <a:xfrm>
            <a:off x="4" y="5389582"/>
            <a:ext cx="1754009" cy="146841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9BDDF53-32CF-4C9F-A3DF-35759C3C180A}"/>
              </a:ext>
            </a:extLst>
          </p:cNvPr>
          <p:cNvSpPr/>
          <p:nvPr userDrawn="1"/>
        </p:nvSpPr>
        <p:spPr>
          <a:xfrm>
            <a:off x="1828870" y="-2256"/>
            <a:ext cx="1754009" cy="7540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C9C8D964-1A79-4B69-B7C7-558AFFE6B077}"/>
              </a:ext>
            </a:extLst>
          </p:cNvPr>
          <p:cNvSpPr/>
          <p:nvPr userDrawn="1"/>
        </p:nvSpPr>
        <p:spPr>
          <a:xfrm>
            <a:off x="3657737" y="6632448"/>
            <a:ext cx="1754009" cy="2255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1" dirty="0">
              <a:solidFill>
                <a:schemeClr val="bg1"/>
              </a:solidFill>
            </a:endParaRP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06AF742B-883A-4B42-A244-D1E97F13EC19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5562831" y="1555075"/>
            <a:ext cx="2252375" cy="704572"/>
          </a:xfrm>
          <a:prstGeom prst="rect">
            <a:avLst/>
          </a:prstGeom>
        </p:spPr>
      </p:pic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243EE3B3-8426-48D7-AEF7-52E23337001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49084" y="5124481"/>
            <a:ext cx="5980176" cy="348505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algn="l">
              <a:buNone/>
              <a:defRPr sz="200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44" name="Title 9">
            <a:extLst>
              <a:ext uri="{FF2B5EF4-FFF2-40B4-BE49-F238E27FC236}">
                <a16:creationId xmlns:a16="http://schemas.microsoft.com/office/drawing/2014/main" id="{743476C8-CD78-4F03-B510-76CD558313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9084" y="2936488"/>
            <a:ext cx="5980176" cy="2002796"/>
          </a:xfrm>
        </p:spPr>
        <p:txBody>
          <a:bodyPr lIns="0" tIns="0" rIns="0" bIns="0" anchor="t">
            <a:normAutofit/>
          </a:bodyPr>
          <a:lstStyle>
            <a:lvl1pPr marL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649751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DF78C9CC-833F-4E21-ADEA-EBEFB2416BE8}"/>
              </a:ext>
            </a:extLst>
          </p:cNvPr>
          <p:cNvGrpSpPr/>
          <p:nvPr userDrawn="1"/>
        </p:nvGrpSpPr>
        <p:grpSpPr>
          <a:xfrm>
            <a:off x="4314436" y="4753194"/>
            <a:ext cx="7877565" cy="184566"/>
            <a:chOff x="85490" y="5421819"/>
            <a:chExt cx="9411633" cy="295508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39B9FE8D-122A-4C0A-A951-6AA32AFF03A8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4FB53895-A53E-4E87-8614-20386F870E8E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9583E9B-978F-427D-BA55-B2722E08F8FA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21054F7-0094-4E42-9A01-FD46422B814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04560" y="1524567"/>
            <a:ext cx="5349240" cy="2039679"/>
          </a:xfrm>
        </p:spPr>
        <p:txBody>
          <a:bodyPr anchor="b">
            <a:noAutofit/>
          </a:bodyPr>
          <a:lstStyle>
            <a:lvl1pPr algn="l"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492F642-04C6-4A15-8130-383A8AF1895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04560" y="3649989"/>
            <a:ext cx="5349240" cy="1017460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chemeClr val="accent3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6E1B130-A332-4665-8E11-B7574A48C1E4}"/>
              </a:ext>
            </a:extLst>
          </p:cNvPr>
          <p:cNvCxnSpPr>
            <a:cxnSpLocks/>
          </p:cNvCxnSpPr>
          <p:nvPr/>
        </p:nvCxnSpPr>
        <p:spPr>
          <a:xfrm>
            <a:off x="0" y="0"/>
            <a:ext cx="2176245" cy="2168798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B6AE5BB-4BA7-4BDA-8729-72DA7B227D73}"/>
              </a:ext>
            </a:extLst>
          </p:cNvPr>
          <p:cNvCxnSpPr>
            <a:cxnSpLocks/>
          </p:cNvCxnSpPr>
          <p:nvPr/>
        </p:nvCxnSpPr>
        <p:spPr>
          <a:xfrm flipV="1">
            <a:off x="1" y="1793339"/>
            <a:ext cx="1816081" cy="185665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559467BB-86B1-4A0E-B7EE-C0878AA7D8FC}"/>
              </a:ext>
            </a:extLst>
          </p:cNvPr>
          <p:cNvCxnSpPr>
            <a:cxnSpLocks/>
          </p:cNvCxnSpPr>
          <p:nvPr/>
        </p:nvCxnSpPr>
        <p:spPr>
          <a:xfrm>
            <a:off x="360935" y="3298787"/>
            <a:ext cx="3592567" cy="3559215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BF361B80-BB1F-4FE2-858A-59F9BC7DB556}"/>
              </a:ext>
            </a:extLst>
          </p:cNvPr>
          <p:cNvSpPr/>
          <p:nvPr/>
        </p:nvSpPr>
        <p:spPr>
          <a:xfrm>
            <a:off x="609881" y="471079"/>
            <a:ext cx="4061447" cy="5635751"/>
          </a:xfrm>
          <a:custGeom>
            <a:avLst/>
            <a:gdLst>
              <a:gd name="connsiteX0" fmla="*/ 2782391 w 4010302"/>
              <a:gd name="connsiteY0" fmla="*/ 0 h 5564782"/>
              <a:gd name="connsiteX1" fmla="*/ 4010302 w 4010302"/>
              <a:gd name="connsiteY1" fmla="*/ 1227911 h 5564782"/>
              <a:gd name="connsiteX2" fmla="*/ 3790867 w 4010302"/>
              <a:gd name="connsiteY2" fmla="*/ 1447346 h 5564782"/>
              <a:gd name="connsiteX3" fmla="*/ 2840653 w 4010302"/>
              <a:gd name="connsiteY3" fmla="*/ 497133 h 5564782"/>
              <a:gd name="connsiteX4" fmla="*/ 555392 w 4010302"/>
              <a:gd name="connsiteY4" fmla="*/ 2782392 h 5564782"/>
              <a:gd name="connsiteX5" fmla="*/ 2840653 w 4010302"/>
              <a:gd name="connsiteY5" fmla="*/ 5067651 h 5564782"/>
              <a:gd name="connsiteX6" fmla="*/ 3790868 w 4010302"/>
              <a:gd name="connsiteY6" fmla="*/ 4117437 h 5564782"/>
              <a:gd name="connsiteX7" fmla="*/ 4010302 w 4010302"/>
              <a:gd name="connsiteY7" fmla="*/ 4336871 h 5564782"/>
              <a:gd name="connsiteX8" fmla="*/ 2782391 w 4010302"/>
              <a:gd name="connsiteY8" fmla="*/ 5564782 h 5564782"/>
              <a:gd name="connsiteX9" fmla="*/ 0 w 4010302"/>
              <a:gd name="connsiteY9" fmla="*/ 2782391 h 55647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010302" h="5564782">
                <a:moveTo>
                  <a:pt x="2782391" y="0"/>
                </a:moveTo>
                <a:lnTo>
                  <a:pt x="4010302" y="1227911"/>
                </a:lnTo>
                <a:lnTo>
                  <a:pt x="3790867" y="1447346"/>
                </a:lnTo>
                <a:lnTo>
                  <a:pt x="2840653" y="497133"/>
                </a:lnTo>
                <a:lnTo>
                  <a:pt x="555392" y="2782392"/>
                </a:lnTo>
                <a:lnTo>
                  <a:pt x="2840653" y="5067651"/>
                </a:lnTo>
                <a:lnTo>
                  <a:pt x="3790868" y="4117437"/>
                </a:lnTo>
                <a:lnTo>
                  <a:pt x="4010302" y="4336871"/>
                </a:lnTo>
                <a:lnTo>
                  <a:pt x="2782391" y="5564782"/>
                </a:lnTo>
                <a:lnTo>
                  <a:pt x="0" y="278239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90DABDB5-0EEF-4875-BA86-5176F698E771}"/>
              </a:ext>
            </a:extLst>
          </p:cNvPr>
          <p:cNvSpPr/>
          <p:nvPr/>
        </p:nvSpPr>
        <p:spPr>
          <a:xfrm>
            <a:off x="609881" y="1782997"/>
            <a:ext cx="1953547" cy="2873880"/>
          </a:xfrm>
          <a:custGeom>
            <a:avLst/>
            <a:gdLst>
              <a:gd name="connsiteX0" fmla="*/ 1486991 w 1928947"/>
              <a:gd name="connsiteY0" fmla="*/ 0 h 2837690"/>
              <a:gd name="connsiteX1" fmla="*/ 1928947 w 1928947"/>
              <a:gd name="connsiteY1" fmla="*/ 0 h 2837690"/>
              <a:gd name="connsiteX2" fmla="*/ 441954 w 1928947"/>
              <a:gd name="connsiteY2" fmla="*/ 1486992 h 2837690"/>
              <a:gd name="connsiteX3" fmla="*/ 1792653 w 1928947"/>
              <a:gd name="connsiteY3" fmla="*/ 2837690 h 2837690"/>
              <a:gd name="connsiteX4" fmla="*/ 1350699 w 1928947"/>
              <a:gd name="connsiteY4" fmla="*/ 2837690 h 2837690"/>
              <a:gd name="connsiteX5" fmla="*/ 0 w 1928947"/>
              <a:gd name="connsiteY5" fmla="*/ 1486991 h 2837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28947" h="2837690">
                <a:moveTo>
                  <a:pt x="1486991" y="0"/>
                </a:moveTo>
                <a:lnTo>
                  <a:pt x="1928947" y="0"/>
                </a:lnTo>
                <a:lnTo>
                  <a:pt x="441954" y="1486992"/>
                </a:lnTo>
                <a:lnTo>
                  <a:pt x="1792653" y="2837690"/>
                </a:lnTo>
                <a:lnTo>
                  <a:pt x="1350699" y="2837690"/>
                </a:lnTo>
                <a:lnTo>
                  <a:pt x="0" y="148699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sz="1400" b="1" dirty="0">
              <a:solidFill>
                <a:schemeClr val="bg1"/>
              </a:solidFill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1CE07B9B-4D14-4F6C-AEDE-189AB083152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60933" y="5790277"/>
            <a:ext cx="2195163" cy="686676"/>
          </a:xfrm>
          <a:prstGeom prst="rect">
            <a:avLst/>
          </a:prstGeom>
        </p:spPr>
      </p:pic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4EB6249B-C6B6-494E-B8EC-E862877BF306}"/>
              </a:ext>
            </a:extLst>
          </p:cNvPr>
          <p:cNvSpPr/>
          <p:nvPr userDrawn="1"/>
        </p:nvSpPr>
        <p:spPr>
          <a:xfrm>
            <a:off x="1035679" y="856935"/>
            <a:ext cx="4864039" cy="4864034"/>
          </a:xfrm>
          <a:custGeom>
            <a:avLst/>
            <a:gdLst>
              <a:gd name="connsiteX0" fmla="*/ 2432019 w 4864038"/>
              <a:gd name="connsiteY0" fmla="*/ 0 h 4864034"/>
              <a:gd name="connsiteX1" fmla="*/ 4864038 w 4864038"/>
              <a:gd name="connsiteY1" fmla="*/ 2432017 h 4864034"/>
              <a:gd name="connsiteX2" fmla="*/ 2432019 w 4864038"/>
              <a:gd name="connsiteY2" fmla="*/ 4864034 h 4864034"/>
              <a:gd name="connsiteX3" fmla="*/ 0 w 4864038"/>
              <a:gd name="connsiteY3" fmla="*/ 2432017 h 4864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64038" h="4864034">
                <a:moveTo>
                  <a:pt x="2432019" y="0"/>
                </a:moveTo>
                <a:lnTo>
                  <a:pt x="4864038" y="2432017"/>
                </a:lnTo>
                <a:lnTo>
                  <a:pt x="2432019" y="4864034"/>
                </a:lnTo>
                <a:lnTo>
                  <a:pt x="0" y="243201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145667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595692FC-365B-442C-B346-23FD917E98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8439" r="37803"/>
          <a:stretch/>
        </p:blipFill>
        <p:spPr>
          <a:xfrm>
            <a:off x="7569843" y="0"/>
            <a:ext cx="4622157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DABBA0-02C3-4CAD-BBC8-C94A1547F7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324" y="1493006"/>
            <a:ext cx="4776024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2C385CF-5E01-4659-9C54-C45B3F4341F8}"/>
              </a:ext>
            </a:extLst>
          </p:cNvPr>
          <p:cNvSpPr/>
          <p:nvPr userDrawn="1"/>
        </p:nvSpPr>
        <p:spPr>
          <a:xfrm>
            <a:off x="844952" y="697376"/>
            <a:ext cx="8090704" cy="4748385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92198-5E08-49A5-999A-3A441B9AC0F0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83196E-16A4-4C04-A414-459A5F5E285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9E172A5-4D9B-44A1-BA41-CF20917287CC}"/>
              </a:ext>
            </a:extLst>
          </p:cNvPr>
          <p:cNvSpPr/>
          <p:nvPr userDrawn="1"/>
        </p:nvSpPr>
        <p:spPr>
          <a:xfrm>
            <a:off x="0" y="1644688"/>
            <a:ext cx="1993392" cy="10221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4D4391F-E316-43A9-BBB7-9F617857C780}"/>
              </a:ext>
            </a:extLst>
          </p:cNvPr>
          <p:cNvSpPr/>
          <p:nvPr userDrawn="1"/>
        </p:nvSpPr>
        <p:spPr>
          <a:xfrm>
            <a:off x="0" y="1644688"/>
            <a:ext cx="182880" cy="102219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C4B8006-6D20-4591-AF40-5A4B089FDD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62324" y="3067487"/>
            <a:ext cx="4776024" cy="9144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526121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E7EFAB85-C861-40F5-B5BE-AE12A6F9CD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E7EFAB85-C861-40F5-B5BE-AE12A6F9CD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626B541D-A119-4858-AB22-B0A436281E1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5400" b="0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A2E6CC3-5A3A-478E-A6BB-FEDF2B7D6731}"/>
              </a:ext>
            </a:extLst>
          </p:cNvPr>
          <p:cNvSpPr/>
          <p:nvPr userDrawn="1"/>
        </p:nvSpPr>
        <p:spPr>
          <a:xfrm>
            <a:off x="1" y="0"/>
            <a:ext cx="5205047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1" dirty="0">
              <a:solidFill>
                <a:schemeClr val="bg1"/>
              </a:solidFill>
            </a:endParaRPr>
          </a:p>
        </p:txBody>
      </p:sp>
      <p:pic>
        <p:nvPicPr>
          <p:cNvPr id="19" name="Picture 18" descr="A group of people sitting at a table using a computer&#10;&#10;Description automatically generated">
            <a:extLst>
              <a:ext uri="{FF2B5EF4-FFF2-40B4-BE49-F238E27FC236}">
                <a16:creationId xmlns:a16="http://schemas.microsoft.com/office/drawing/2014/main" id="{5374133A-648E-48E2-9E9E-56BE3F4AE2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05045" y="0"/>
            <a:ext cx="6986955" cy="6858000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CE3F2FBB-C260-4D7E-8866-50564C689C8C}"/>
              </a:ext>
            </a:extLst>
          </p:cNvPr>
          <p:cNvGrpSpPr/>
          <p:nvPr userDrawn="1"/>
        </p:nvGrpSpPr>
        <p:grpSpPr>
          <a:xfrm>
            <a:off x="9815333" y="2"/>
            <a:ext cx="2376668" cy="81023"/>
            <a:chOff x="85490" y="5421819"/>
            <a:chExt cx="9411633" cy="295508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A504C5D7-348E-48DB-A6D7-ECDCEECEA09F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B954A28C-A435-4198-B681-A49B0066F288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4698C6A9-0367-4D65-8E9E-8A404690AB2F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FE8A352-C1EE-4BAF-B79D-E00FFC59B0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5614" y="2022716"/>
            <a:ext cx="4499509" cy="2554014"/>
          </a:xfrm>
        </p:spPr>
        <p:txBody>
          <a:bodyPr lIns="0" tIns="0" rIns="0" bIns="0" anchor="ctr">
            <a:noAutofit/>
          </a:bodyPr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Divider</a:t>
            </a:r>
          </a:p>
        </p:txBody>
      </p:sp>
    </p:spTree>
    <p:extLst>
      <p:ext uri="{BB962C8B-B14F-4D97-AF65-F5344CB8AC3E}">
        <p14:creationId xmlns:p14="http://schemas.microsoft.com/office/powerpoint/2010/main" val="135135604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losing Slid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1" name="Picture 240" descr="A picture containing person, microphone&#10;&#10;Description automatically generated">
            <a:extLst>
              <a:ext uri="{FF2B5EF4-FFF2-40B4-BE49-F238E27FC236}">
                <a16:creationId xmlns:a16="http://schemas.microsoft.com/office/drawing/2014/main" id="{72581FA2-B7BD-4462-A138-485CEA6743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grayscl/>
          </a:blip>
          <a:srcRect t="-1" b="42975"/>
          <a:stretch/>
        </p:blipFill>
        <p:spPr>
          <a:xfrm>
            <a:off x="4641" y="0"/>
            <a:ext cx="9621044" cy="6858000"/>
          </a:xfrm>
          <a:prstGeom prst="rect">
            <a:avLst/>
          </a:prstGeom>
        </p:spPr>
      </p:pic>
      <p:sp>
        <p:nvSpPr>
          <p:cNvPr id="243" name="Rectangle 242">
            <a:extLst>
              <a:ext uri="{FF2B5EF4-FFF2-40B4-BE49-F238E27FC236}">
                <a16:creationId xmlns:a16="http://schemas.microsoft.com/office/drawing/2014/main" id="{89DB9D06-8001-4727-B091-C58DA8E0769A}"/>
              </a:ext>
            </a:extLst>
          </p:cNvPr>
          <p:cNvSpPr/>
          <p:nvPr userDrawn="1"/>
        </p:nvSpPr>
        <p:spPr>
          <a:xfrm>
            <a:off x="-1" y="0"/>
            <a:ext cx="9674149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5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242" name="Rectangle: Rounded Corners 241">
            <a:extLst>
              <a:ext uri="{FF2B5EF4-FFF2-40B4-BE49-F238E27FC236}">
                <a16:creationId xmlns:a16="http://schemas.microsoft.com/office/drawing/2014/main" id="{286E9E90-A1ED-4811-816A-6CCA93A5A7F0}"/>
              </a:ext>
            </a:extLst>
          </p:cNvPr>
          <p:cNvSpPr/>
          <p:nvPr userDrawn="1"/>
        </p:nvSpPr>
        <p:spPr>
          <a:xfrm>
            <a:off x="4521200" y="419052"/>
            <a:ext cx="7666157" cy="6019896"/>
          </a:xfrm>
          <a:prstGeom prst="roundRect">
            <a:avLst>
              <a:gd name="adj" fmla="val 2532"/>
            </a:avLst>
          </a:prstGeom>
          <a:solidFill>
            <a:schemeClr val="bg1"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F072BE96-CFC6-4138-BE34-1165FC88DA0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21942" y="1279114"/>
            <a:ext cx="6674758" cy="2221748"/>
          </a:xfrm>
        </p:spPr>
        <p:txBody>
          <a:bodyPr anchor="b">
            <a:normAutofit/>
          </a:bodyPr>
          <a:lstStyle>
            <a:lvl1pPr algn="l">
              <a:defRPr sz="5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9" name="Subtitle 2">
            <a:extLst>
              <a:ext uri="{FF2B5EF4-FFF2-40B4-BE49-F238E27FC236}">
                <a16:creationId xmlns:a16="http://schemas.microsoft.com/office/drawing/2014/main" id="{2E627D3D-50EA-49FA-97E2-1ED6F6C591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21942" y="3606800"/>
            <a:ext cx="6674758" cy="1044022"/>
          </a:xfrm>
        </p:spPr>
        <p:txBody>
          <a:bodyPr anchor="t">
            <a:normAutofit/>
          </a:bodyPr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D7690A6B-9594-49F7-B01A-1985DDA704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21942" y="5473701"/>
            <a:ext cx="1888861" cy="522288"/>
          </a:xfrm>
        </p:spPr>
        <p:txBody>
          <a:bodyPr anchor="b">
            <a:normAutofit/>
          </a:bodyPr>
          <a:lstStyle>
            <a:lvl1pPr algn="l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Date</a:t>
            </a:r>
            <a:endParaRPr lang="en-IN" dirty="0"/>
          </a:p>
        </p:txBody>
      </p:sp>
      <p:sp>
        <p:nvSpPr>
          <p:cNvPr id="61" name="Text Placeholder 30">
            <a:extLst>
              <a:ext uri="{FF2B5EF4-FFF2-40B4-BE49-F238E27FC236}">
                <a16:creationId xmlns:a16="http://schemas.microsoft.com/office/drawing/2014/main" id="{500D4A0D-377B-4C0C-A88F-7B552CB5199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21942" y="4868224"/>
            <a:ext cx="1888861" cy="522288"/>
          </a:xfrm>
        </p:spPr>
        <p:txBody>
          <a:bodyPr anchor="b">
            <a:normAutofit/>
          </a:bodyPr>
          <a:lstStyle>
            <a:lvl1pPr algn="l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  <a:endParaRPr lang="en-IN" dirty="0"/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id="{394A43BF-D36E-4E52-A734-F421675D327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81190" y="5701571"/>
            <a:ext cx="1515510" cy="474073"/>
          </a:xfrm>
          <a:prstGeom prst="rect">
            <a:avLst/>
          </a:prstGeom>
        </p:spPr>
      </p:pic>
      <p:sp>
        <p:nvSpPr>
          <p:cNvPr id="244" name="Rectangle: Rounded Corners 243">
            <a:extLst>
              <a:ext uri="{FF2B5EF4-FFF2-40B4-BE49-F238E27FC236}">
                <a16:creationId xmlns:a16="http://schemas.microsoft.com/office/drawing/2014/main" id="{4EF7DA90-A712-439B-BFF3-F672E1D69938}"/>
              </a:ext>
            </a:extLst>
          </p:cNvPr>
          <p:cNvSpPr/>
          <p:nvPr userDrawn="1"/>
        </p:nvSpPr>
        <p:spPr>
          <a:xfrm>
            <a:off x="4711700" y="610863"/>
            <a:ext cx="7670637" cy="6019896"/>
          </a:xfrm>
          <a:prstGeom prst="roundRect">
            <a:avLst>
              <a:gd name="adj" fmla="val 1477"/>
            </a:avLst>
          </a:prstGeom>
          <a:noFill/>
          <a:ln w="317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cxnSp>
        <p:nvCxnSpPr>
          <p:cNvPr id="246" name="Straight Connector 245">
            <a:extLst>
              <a:ext uri="{FF2B5EF4-FFF2-40B4-BE49-F238E27FC236}">
                <a16:creationId xmlns:a16="http://schemas.microsoft.com/office/drawing/2014/main" id="{777E8102-8B30-4EDE-89B9-CAA73B8B7FB3}"/>
              </a:ext>
            </a:extLst>
          </p:cNvPr>
          <p:cNvCxnSpPr/>
          <p:nvPr userDrawn="1"/>
        </p:nvCxnSpPr>
        <p:spPr>
          <a:xfrm>
            <a:off x="8382000" y="610863"/>
            <a:ext cx="2654300" cy="0"/>
          </a:xfrm>
          <a:prstGeom prst="line">
            <a:avLst/>
          </a:prstGeom>
          <a:noFill/>
          <a:ln w="317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7" name="Straight Connector 246">
            <a:extLst>
              <a:ext uri="{FF2B5EF4-FFF2-40B4-BE49-F238E27FC236}">
                <a16:creationId xmlns:a16="http://schemas.microsoft.com/office/drawing/2014/main" id="{8FE87F22-09C5-4669-A348-17D7BEF1BC1A}"/>
              </a:ext>
            </a:extLst>
          </p:cNvPr>
          <p:cNvCxnSpPr/>
          <p:nvPr userDrawn="1"/>
        </p:nvCxnSpPr>
        <p:spPr>
          <a:xfrm>
            <a:off x="6019800" y="6630759"/>
            <a:ext cx="2654300" cy="0"/>
          </a:xfrm>
          <a:prstGeom prst="line">
            <a:avLst/>
          </a:prstGeom>
          <a:noFill/>
          <a:ln w="317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8" name="Straight Connector 247">
            <a:extLst>
              <a:ext uri="{FF2B5EF4-FFF2-40B4-BE49-F238E27FC236}">
                <a16:creationId xmlns:a16="http://schemas.microsoft.com/office/drawing/2014/main" id="{29CF6D32-75B5-4745-A22C-13B732E628B7}"/>
              </a:ext>
            </a:extLst>
          </p:cNvPr>
          <p:cNvCxnSpPr>
            <a:cxnSpLocks/>
          </p:cNvCxnSpPr>
          <p:nvPr userDrawn="1"/>
        </p:nvCxnSpPr>
        <p:spPr>
          <a:xfrm>
            <a:off x="8674100" y="6630759"/>
            <a:ext cx="182880" cy="0"/>
          </a:xfrm>
          <a:prstGeom prst="line">
            <a:avLst/>
          </a:prstGeom>
          <a:noFill/>
          <a:ln w="317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50" name="Straight Connector 249">
            <a:extLst>
              <a:ext uri="{FF2B5EF4-FFF2-40B4-BE49-F238E27FC236}">
                <a16:creationId xmlns:a16="http://schemas.microsoft.com/office/drawing/2014/main" id="{7EDC504E-EC40-4775-BBC6-BCA971C89AA5}"/>
              </a:ext>
            </a:extLst>
          </p:cNvPr>
          <p:cNvCxnSpPr>
            <a:cxnSpLocks/>
          </p:cNvCxnSpPr>
          <p:nvPr userDrawn="1"/>
        </p:nvCxnSpPr>
        <p:spPr>
          <a:xfrm>
            <a:off x="8199120" y="610863"/>
            <a:ext cx="182880" cy="0"/>
          </a:xfrm>
          <a:prstGeom prst="line">
            <a:avLst/>
          </a:prstGeom>
          <a:noFill/>
          <a:ln w="317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308374305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94EDF227-F1B3-4A2A-A73C-51AA38D91F38}"/>
              </a:ext>
            </a:extLst>
          </p:cNvPr>
          <p:cNvSpPr/>
          <p:nvPr userDrawn="1"/>
        </p:nvSpPr>
        <p:spPr>
          <a:xfrm>
            <a:off x="6309360" y="0"/>
            <a:ext cx="588264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1" dirty="0">
              <a:solidFill>
                <a:schemeClr val="bg1"/>
              </a:solidFill>
            </a:endParaRPr>
          </a:p>
        </p:txBody>
      </p:sp>
      <p:pic>
        <p:nvPicPr>
          <p:cNvPr id="16" name="Picture 15" descr="A person in a suit and tie&#10;&#10;Description automatically generated">
            <a:extLst>
              <a:ext uri="{FF2B5EF4-FFF2-40B4-BE49-F238E27FC236}">
                <a16:creationId xmlns:a16="http://schemas.microsoft.com/office/drawing/2014/main" id="{5BEF2E01-C144-4D4C-8816-3D0A353690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79"/>
          <a:stretch/>
        </p:blipFill>
        <p:spPr>
          <a:xfrm>
            <a:off x="0" y="0"/>
            <a:ext cx="6309360" cy="4149574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04FC7C7-2B27-49C4-B9D4-53BFD986A9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04FC7C7-2B27-49C4-B9D4-53BFD986A9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42156EE-4523-4C3B-A50D-CB3AA751463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4400" b="0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B501DF7-D921-4EA4-8305-ADCB05E8B7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4682087"/>
            <a:ext cx="5176520" cy="1325563"/>
          </a:xfrm>
        </p:spPr>
        <p:txBody>
          <a:bodyPr>
            <a:normAutofit/>
          </a:bodyPr>
          <a:lstStyle>
            <a:lvl1pPr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73806B4-4917-4E08-AB09-59F8FBC1C3C2}"/>
              </a:ext>
            </a:extLst>
          </p:cNvPr>
          <p:cNvSpPr/>
          <p:nvPr userDrawn="1"/>
        </p:nvSpPr>
        <p:spPr>
          <a:xfrm>
            <a:off x="6609145" y="448523"/>
            <a:ext cx="5254907" cy="6076709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3945D23F-5AEA-4104-AD8F-90111D33C1C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805915" y="623587"/>
            <a:ext cx="4861368" cy="70008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/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24">
            <a:extLst>
              <a:ext uri="{FF2B5EF4-FFF2-40B4-BE49-F238E27FC236}">
                <a16:creationId xmlns:a16="http://schemas.microsoft.com/office/drawing/2014/main" id="{C77830EA-2A10-43E0-8C9F-4855ADC320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05915" y="1628885"/>
            <a:ext cx="4861368" cy="70008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/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4">
            <a:extLst>
              <a:ext uri="{FF2B5EF4-FFF2-40B4-BE49-F238E27FC236}">
                <a16:creationId xmlns:a16="http://schemas.microsoft.com/office/drawing/2014/main" id="{972542DB-6E56-4C5C-9A75-678B92B4AD0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05915" y="2634183"/>
            <a:ext cx="4861368" cy="70008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/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4">
            <a:extLst>
              <a:ext uri="{FF2B5EF4-FFF2-40B4-BE49-F238E27FC236}">
                <a16:creationId xmlns:a16="http://schemas.microsoft.com/office/drawing/2014/main" id="{E39981B4-D1AB-4DFD-B707-9480B4F3250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805915" y="3639481"/>
            <a:ext cx="4861368" cy="70008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/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Text Placeholder 24">
            <a:extLst>
              <a:ext uri="{FF2B5EF4-FFF2-40B4-BE49-F238E27FC236}">
                <a16:creationId xmlns:a16="http://schemas.microsoft.com/office/drawing/2014/main" id="{3FC3D124-D8B3-4561-81F2-20402E0A2A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05915" y="4644779"/>
            <a:ext cx="4861368" cy="70008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/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Text Placeholder 24">
            <a:extLst>
              <a:ext uri="{FF2B5EF4-FFF2-40B4-BE49-F238E27FC236}">
                <a16:creationId xmlns:a16="http://schemas.microsoft.com/office/drawing/2014/main" id="{6ABCEFA1-7B7A-463D-A951-0AF0647E45E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05915" y="5650076"/>
            <a:ext cx="4861368" cy="70008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/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BEC6A5DF-6D10-4B35-B8B6-367AF4AA3316}"/>
              </a:ext>
            </a:extLst>
          </p:cNvPr>
          <p:cNvCxnSpPr/>
          <p:nvPr userDrawn="1"/>
        </p:nvCxnSpPr>
        <p:spPr>
          <a:xfrm>
            <a:off x="6805915" y="1476280"/>
            <a:ext cx="4861368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2ABE9C84-B40D-43B3-8522-AB10CE879350}"/>
              </a:ext>
            </a:extLst>
          </p:cNvPr>
          <p:cNvCxnSpPr/>
          <p:nvPr userDrawn="1"/>
        </p:nvCxnSpPr>
        <p:spPr>
          <a:xfrm>
            <a:off x="6805915" y="2481578"/>
            <a:ext cx="4861368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75BD9A2-F139-409D-86AD-9B25D84E054B}"/>
              </a:ext>
            </a:extLst>
          </p:cNvPr>
          <p:cNvCxnSpPr/>
          <p:nvPr userDrawn="1"/>
        </p:nvCxnSpPr>
        <p:spPr>
          <a:xfrm>
            <a:off x="6805915" y="3486876"/>
            <a:ext cx="4861368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2979FF61-3EE8-4905-8D72-2B9585DFC087}"/>
              </a:ext>
            </a:extLst>
          </p:cNvPr>
          <p:cNvCxnSpPr/>
          <p:nvPr userDrawn="1"/>
        </p:nvCxnSpPr>
        <p:spPr>
          <a:xfrm>
            <a:off x="6805915" y="4492174"/>
            <a:ext cx="4861368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39BB39BB-5197-47B3-87C1-458F40B6F59C}"/>
              </a:ext>
            </a:extLst>
          </p:cNvPr>
          <p:cNvCxnSpPr/>
          <p:nvPr userDrawn="1"/>
        </p:nvCxnSpPr>
        <p:spPr>
          <a:xfrm>
            <a:off x="6805915" y="5497472"/>
            <a:ext cx="4861368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667540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initi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1088293-6771-4A16-96B3-FDB53FD635DD}"/>
              </a:ext>
            </a:extLst>
          </p:cNvPr>
          <p:cNvSpPr/>
          <p:nvPr userDrawn="1"/>
        </p:nvSpPr>
        <p:spPr>
          <a:xfrm>
            <a:off x="4582185" y="0"/>
            <a:ext cx="760981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pic>
        <p:nvPicPr>
          <p:cNvPr id="11" name="Picture 10" descr="Two people sitting at a table&#10;&#10;Description automatically generated">
            <a:extLst>
              <a:ext uri="{FF2B5EF4-FFF2-40B4-BE49-F238E27FC236}">
                <a16:creationId xmlns:a16="http://schemas.microsoft.com/office/drawing/2014/main" id="{2D8E55CA-5BEA-4527-A100-2024F0C4C0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582183" cy="6858000"/>
          </a:xfrm>
          <a:custGeom>
            <a:avLst/>
            <a:gdLst>
              <a:gd name="connsiteX0" fmla="*/ 0 w 4582183"/>
              <a:gd name="connsiteY0" fmla="*/ 0 h 6858000"/>
              <a:gd name="connsiteX1" fmla="*/ 4582183 w 4582183"/>
              <a:gd name="connsiteY1" fmla="*/ 0 h 6858000"/>
              <a:gd name="connsiteX2" fmla="*/ 4582183 w 4582183"/>
              <a:gd name="connsiteY2" fmla="*/ 6858000 h 6858000"/>
              <a:gd name="connsiteX3" fmla="*/ 0 w 458218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82183" h="6858000">
                <a:moveTo>
                  <a:pt x="0" y="0"/>
                </a:moveTo>
                <a:lnTo>
                  <a:pt x="4582183" y="0"/>
                </a:lnTo>
                <a:lnTo>
                  <a:pt x="4582183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DABBA0-02C3-4CAD-BBC8-C94A1547F7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1" y="365127"/>
            <a:ext cx="67183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92198-5E08-49A5-999A-3A441B9AC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3EC2821-D465-4807-8669-14DF430C3D1D}"/>
              </a:ext>
            </a:extLst>
          </p:cNvPr>
          <p:cNvGrpSpPr/>
          <p:nvPr userDrawn="1"/>
        </p:nvGrpSpPr>
        <p:grpSpPr>
          <a:xfrm>
            <a:off x="0" y="0"/>
            <a:ext cx="1828800" cy="73152"/>
            <a:chOff x="85490" y="5421819"/>
            <a:chExt cx="9411633" cy="295508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F0143F3-FB57-410B-A97E-C395F4B01BD0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B1A6350-6C8F-4597-9D00-EEF3D0D1FA2C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1CE3045-7A4E-4F50-AF38-F7B0777B26D0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sp>
        <p:nvSpPr>
          <p:cNvPr id="14" name="Rectangle 15">
            <a:extLst>
              <a:ext uri="{FF2B5EF4-FFF2-40B4-BE49-F238E27FC236}">
                <a16:creationId xmlns:a16="http://schemas.microsoft.com/office/drawing/2014/main" id="{CCC085DF-2F7C-4CE7-8AFE-25DA4ECA98D9}"/>
              </a:ext>
            </a:extLst>
          </p:cNvPr>
          <p:cNvSpPr/>
          <p:nvPr userDrawn="1"/>
        </p:nvSpPr>
        <p:spPr>
          <a:xfrm>
            <a:off x="4953000" y="2164571"/>
            <a:ext cx="173720" cy="4029854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  <a:gd name="connsiteX4" fmla="*/ 0 w 914400"/>
              <a:gd name="connsiteY4" fmla="*/ 0 h 914400"/>
              <a:gd name="connsiteX0" fmla="*/ 914400 w 1005840"/>
              <a:gd name="connsiteY0" fmla="*/ 914400 h 1005840"/>
              <a:gd name="connsiteX1" fmla="*/ 0 w 1005840"/>
              <a:gd name="connsiteY1" fmla="*/ 914400 h 1005840"/>
              <a:gd name="connsiteX2" fmla="*/ 0 w 1005840"/>
              <a:gd name="connsiteY2" fmla="*/ 0 h 1005840"/>
              <a:gd name="connsiteX3" fmla="*/ 914400 w 1005840"/>
              <a:gd name="connsiteY3" fmla="*/ 0 h 1005840"/>
              <a:gd name="connsiteX4" fmla="*/ 1005840 w 1005840"/>
              <a:gd name="connsiteY4" fmla="*/ 1005840 h 1005840"/>
              <a:gd name="connsiteX0" fmla="*/ 914400 w 998220"/>
              <a:gd name="connsiteY0" fmla="*/ 914400 h 1017270"/>
              <a:gd name="connsiteX1" fmla="*/ 0 w 998220"/>
              <a:gd name="connsiteY1" fmla="*/ 914400 h 1017270"/>
              <a:gd name="connsiteX2" fmla="*/ 0 w 998220"/>
              <a:gd name="connsiteY2" fmla="*/ 0 h 1017270"/>
              <a:gd name="connsiteX3" fmla="*/ 914400 w 998220"/>
              <a:gd name="connsiteY3" fmla="*/ 0 h 1017270"/>
              <a:gd name="connsiteX4" fmla="*/ 998220 w 998220"/>
              <a:gd name="connsiteY4" fmla="*/ 1017270 h 1017270"/>
              <a:gd name="connsiteX0" fmla="*/ 914400 w 914400"/>
              <a:gd name="connsiteY0" fmla="*/ 914400 h 914400"/>
              <a:gd name="connsiteX1" fmla="*/ 0 w 914400"/>
              <a:gd name="connsiteY1" fmla="*/ 914400 h 914400"/>
              <a:gd name="connsiteX2" fmla="*/ 0 w 914400"/>
              <a:gd name="connsiteY2" fmla="*/ 0 h 914400"/>
              <a:gd name="connsiteX3" fmla="*/ 914400 w 914400"/>
              <a:gd name="connsiteY3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914400" y="914400"/>
                </a:moveTo>
                <a:lnTo>
                  <a:pt x="0" y="914400"/>
                </a:lnTo>
                <a:lnTo>
                  <a:pt x="0" y="0"/>
                </a:lnTo>
                <a:lnTo>
                  <a:pt x="91440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 sz="1800"/>
          </a:p>
        </p:txBody>
      </p:sp>
      <p:sp>
        <p:nvSpPr>
          <p:cNvPr id="15" name="Rectangle 15">
            <a:extLst>
              <a:ext uri="{FF2B5EF4-FFF2-40B4-BE49-F238E27FC236}">
                <a16:creationId xmlns:a16="http://schemas.microsoft.com/office/drawing/2014/main" id="{7EF7C376-5FE1-421D-AC3E-CC8A3955400F}"/>
              </a:ext>
            </a:extLst>
          </p:cNvPr>
          <p:cNvSpPr/>
          <p:nvPr userDrawn="1"/>
        </p:nvSpPr>
        <p:spPr>
          <a:xfrm flipH="1">
            <a:off x="11497580" y="2164571"/>
            <a:ext cx="173720" cy="4029854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  <a:gd name="connsiteX4" fmla="*/ 0 w 914400"/>
              <a:gd name="connsiteY4" fmla="*/ 0 h 914400"/>
              <a:gd name="connsiteX0" fmla="*/ 914400 w 1005840"/>
              <a:gd name="connsiteY0" fmla="*/ 914400 h 1005840"/>
              <a:gd name="connsiteX1" fmla="*/ 0 w 1005840"/>
              <a:gd name="connsiteY1" fmla="*/ 914400 h 1005840"/>
              <a:gd name="connsiteX2" fmla="*/ 0 w 1005840"/>
              <a:gd name="connsiteY2" fmla="*/ 0 h 1005840"/>
              <a:gd name="connsiteX3" fmla="*/ 914400 w 1005840"/>
              <a:gd name="connsiteY3" fmla="*/ 0 h 1005840"/>
              <a:gd name="connsiteX4" fmla="*/ 1005840 w 1005840"/>
              <a:gd name="connsiteY4" fmla="*/ 1005840 h 1005840"/>
              <a:gd name="connsiteX0" fmla="*/ 914400 w 998220"/>
              <a:gd name="connsiteY0" fmla="*/ 914400 h 1017270"/>
              <a:gd name="connsiteX1" fmla="*/ 0 w 998220"/>
              <a:gd name="connsiteY1" fmla="*/ 914400 h 1017270"/>
              <a:gd name="connsiteX2" fmla="*/ 0 w 998220"/>
              <a:gd name="connsiteY2" fmla="*/ 0 h 1017270"/>
              <a:gd name="connsiteX3" fmla="*/ 914400 w 998220"/>
              <a:gd name="connsiteY3" fmla="*/ 0 h 1017270"/>
              <a:gd name="connsiteX4" fmla="*/ 998220 w 998220"/>
              <a:gd name="connsiteY4" fmla="*/ 1017270 h 1017270"/>
              <a:gd name="connsiteX0" fmla="*/ 914400 w 914400"/>
              <a:gd name="connsiteY0" fmla="*/ 914400 h 914400"/>
              <a:gd name="connsiteX1" fmla="*/ 0 w 914400"/>
              <a:gd name="connsiteY1" fmla="*/ 914400 h 914400"/>
              <a:gd name="connsiteX2" fmla="*/ 0 w 914400"/>
              <a:gd name="connsiteY2" fmla="*/ 0 h 914400"/>
              <a:gd name="connsiteX3" fmla="*/ 914400 w 914400"/>
              <a:gd name="connsiteY3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914400" y="914400"/>
                </a:moveTo>
                <a:lnTo>
                  <a:pt x="0" y="914400"/>
                </a:lnTo>
                <a:lnTo>
                  <a:pt x="0" y="0"/>
                </a:lnTo>
                <a:lnTo>
                  <a:pt x="91440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 sz="180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02BDB4A-82CE-4FAC-98B7-87866D337A6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26721" y="2449200"/>
            <a:ext cx="6370859" cy="346059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113770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Welcom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picture containing object&#10;&#10;Description automatically generated">
            <a:extLst>
              <a:ext uri="{FF2B5EF4-FFF2-40B4-BE49-F238E27FC236}">
                <a16:creationId xmlns:a16="http://schemas.microsoft.com/office/drawing/2014/main" id="{217CBA57-D844-4DB1-8553-71FE011A7F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668" r="32636"/>
          <a:stretch/>
        </p:blipFill>
        <p:spPr>
          <a:xfrm>
            <a:off x="0" y="0"/>
            <a:ext cx="3565003" cy="6858000"/>
          </a:xfrm>
          <a:custGeom>
            <a:avLst/>
            <a:gdLst>
              <a:gd name="connsiteX0" fmla="*/ 0 w 3565003"/>
              <a:gd name="connsiteY0" fmla="*/ 0 h 6858000"/>
              <a:gd name="connsiteX1" fmla="*/ 3565003 w 3565003"/>
              <a:gd name="connsiteY1" fmla="*/ 0 h 6858000"/>
              <a:gd name="connsiteX2" fmla="*/ 3565003 w 3565003"/>
              <a:gd name="connsiteY2" fmla="*/ 6858000 h 6858000"/>
              <a:gd name="connsiteX3" fmla="*/ 0 w 356500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65003" h="6858000">
                <a:moveTo>
                  <a:pt x="0" y="0"/>
                </a:moveTo>
                <a:lnTo>
                  <a:pt x="3565003" y="0"/>
                </a:lnTo>
                <a:lnTo>
                  <a:pt x="3565003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13" name="Picture 12" descr="A group of people sitting on a couch&#10;&#10;Description automatically generated">
            <a:extLst>
              <a:ext uri="{FF2B5EF4-FFF2-40B4-BE49-F238E27FC236}">
                <a16:creationId xmlns:a16="http://schemas.microsoft.com/office/drawing/2014/main" id="{0BA80181-D8B5-4912-A7F1-BF3CE7D146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26997" y="0"/>
            <a:ext cx="3565003" cy="6858000"/>
          </a:xfrm>
          <a:custGeom>
            <a:avLst/>
            <a:gdLst>
              <a:gd name="connsiteX0" fmla="*/ 0 w 3565003"/>
              <a:gd name="connsiteY0" fmla="*/ 0 h 6858000"/>
              <a:gd name="connsiteX1" fmla="*/ 3565003 w 3565003"/>
              <a:gd name="connsiteY1" fmla="*/ 0 h 6858000"/>
              <a:gd name="connsiteX2" fmla="*/ 3565003 w 3565003"/>
              <a:gd name="connsiteY2" fmla="*/ 6858000 h 6858000"/>
              <a:gd name="connsiteX3" fmla="*/ 0 w 356500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65003" h="6858000">
                <a:moveTo>
                  <a:pt x="0" y="0"/>
                </a:moveTo>
                <a:lnTo>
                  <a:pt x="3565003" y="0"/>
                </a:lnTo>
                <a:lnTo>
                  <a:pt x="3565003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56FEEE4-ED51-4BA2-8867-A4407444596E}"/>
              </a:ext>
            </a:extLst>
          </p:cNvPr>
          <p:cNvSpPr/>
          <p:nvPr userDrawn="1"/>
        </p:nvSpPr>
        <p:spPr>
          <a:xfrm>
            <a:off x="3635163" y="0"/>
            <a:ext cx="4921672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92198-5E08-49A5-999A-3A441B9AC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A6F7254-AEED-41EA-BB83-56A5B8FC45D2}"/>
              </a:ext>
            </a:extLst>
          </p:cNvPr>
          <p:cNvSpPr/>
          <p:nvPr userDrawn="1"/>
        </p:nvSpPr>
        <p:spPr>
          <a:xfrm>
            <a:off x="3823459" y="230710"/>
            <a:ext cx="4545083" cy="6396580"/>
          </a:xfrm>
          <a:prstGeom prst="rect">
            <a:avLst/>
          </a:prstGeom>
          <a:solidFill>
            <a:schemeClr val="tx2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DABBA0-02C3-4CAD-BBC8-C94A1547F7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2243" y="2766221"/>
            <a:ext cx="4367515" cy="1325563"/>
          </a:xfrm>
        </p:spPr>
        <p:txBody>
          <a:bodyPr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4388608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1FBB54F7-DF56-46DF-AB20-3DD3F4ABD4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96619"/>
            <a:ext cx="12192000" cy="406476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5B0FF00F-646F-4BB4-896E-DC7F25273843}"/>
              </a:ext>
            </a:extLst>
          </p:cNvPr>
          <p:cNvSpPr/>
          <p:nvPr userDrawn="1"/>
        </p:nvSpPr>
        <p:spPr>
          <a:xfrm>
            <a:off x="0" y="1396618"/>
            <a:ext cx="12192000" cy="4064765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3337CAE-BB7F-42A9-92DE-2133FA58A8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701" y="2002634"/>
            <a:ext cx="11137900" cy="2852737"/>
          </a:xfrm>
        </p:spPr>
        <p:txBody>
          <a:bodyPr anchor="ctr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F31268-3449-47EC-8584-83E899ED86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83364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5F84E8-39F4-09B4-DBC8-7EB4BB5357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FACAEE-6B8A-D63E-4CF2-16651AA3FF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A3CFB6-97BA-EB5A-DA2C-0832AAA374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6312C-EAFF-4BED-94F5-BEE52E89B31E}" type="datetimeFigureOut">
              <a:rPr lang="en-US" smtClean="0"/>
              <a:t>2/1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1A3F6B0-5A25-EF57-ABD0-41F1E2112E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08BB56-C492-A4CD-5793-51B279F6DE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EEC150-AE8D-49EF-81A6-13FC777E18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795936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C14F0E1-1E6A-485A-8C76-CCAC88E7EEED}"/>
              </a:ext>
            </a:extLst>
          </p:cNvPr>
          <p:cNvSpPr/>
          <p:nvPr userDrawn="1"/>
        </p:nvSpPr>
        <p:spPr>
          <a:xfrm>
            <a:off x="1" y="5715000"/>
            <a:ext cx="6591300" cy="1143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59EBBAF8-4E8E-443A-829C-C8674F32C5DE}"/>
              </a:ext>
            </a:extLst>
          </p:cNvPr>
          <p:cNvSpPr/>
          <p:nvPr userDrawn="1"/>
        </p:nvSpPr>
        <p:spPr>
          <a:xfrm>
            <a:off x="3757614" y="1943101"/>
            <a:ext cx="1704975" cy="762001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23A5EE7-8121-4843-B259-0E0077EE4143}"/>
              </a:ext>
            </a:extLst>
          </p:cNvPr>
          <p:cNvSpPr/>
          <p:nvPr userDrawn="1"/>
        </p:nvSpPr>
        <p:spPr>
          <a:xfrm>
            <a:off x="3757614" y="2819401"/>
            <a:ext cx="1704975" cy="762001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A88DB64-85E7-4619-9416-F69121B69F56}"/>
              </a:ext>
            </a:extLst>
          </p:cNvPr>
          <p:cNvSpPr/>
          <p:nvPr userDrawn="1"/>
        </p:nvSpPr>
        <p:spPr>
          <a:xfrm>
            <a:off x="3757614" y="3695701"/>
            <a:ext cx="1704975" cy="762001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939FE0B-B439-4A33-8848-8D3A17AA58B0}"/>
              </a:ext>
            </a:extLst>
          </p:cNvPr>
          <p:cNvSpPr/>
          <p:nvPr userDrawn="1"/>
        </p:nvSpPr>
        <p:spPr>
          <a:xfrm>
            <a:off x="3757614" y="4572001"/>
            <a:ext cx="1704975" cy="762001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57A99CC9-E6A2-4DB0-83BD-635ECBA46198}"/>
              </a:ext>
            </a:extLst>
          </p:cNvPr>
          <p:cNvSpPr/>
          <p:nvPr userDrawn="1"/>
        </p:nvSpPr>
        <p:spPr>
          <a:xfrm>
            <a:off x="3757614" y="5448301"/>
            <a:ext cx="1704975" cy="762001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866E71-EEE4-424C-8D49-85C9B5B5A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62501" y="365127"/>
            <a:ext cx="6591300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genda</a:t>
            </a:r>
            <a:endParaRPr lang="en-IN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38E709D-C74D-4489-8654-048602E85F4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4610100" cy="6858000"/>
          </a:xfrm>
          <a:solidFill>
            <a:schemeClr val="bg1"/>
          </a:solidFill>
        </p:spPr>
        <p:txBody>
          <a:bodyPr/>
          <a:lstStyle/>
          <a:p>
            <a:endParaRPr lang="en-IN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0CBFE46-2F5C-4708-A58E-430586F6723A}"/>
              </a:ext>
            </a:extLst>
          </p:cNvPr>
          <p:cNvCxnSpPr/>
          <p:nvPr userDrawn="1"/>
        </p:nvCxnSpPr>
        <p:spPr>
          <a:xfrm>
            <a:off x="5649362" y="2762249"/>
            <a:ext cx="570443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7380889-7929-4675-AEBA-6253F15A550D}"/>
              </a:ext>
            </a:extLst>
          </p:cNvPr>
          <p:cNvCxnSpPr/>
          <p:nvPr userDrawn="1"/>
        </p:nvCxnSpPr>
        <p:spPr>
          <a:xfrm>
            <a:off x="5649362" y="3638549"/>
            <a:ext cx="570443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2DF99CC-6349-40D3-BECD-C0EA23F6D053}"/>
              </a:ext>
            </a:extLst>
          </p:cNvPr>
          <p:cNvCxnSpPr/>
          <p:nvPr userDrawn="1"/>
        </p:nvCxnSpPr>
        <p:spPr>
          <a:xfrm>
            <a:off x="5649362" y="4514849"/>
            <a:ext cx="570443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3DA6FDF-69ED-4FB7-8490-D2542867051E}"/>
              </a:ext>
            </a:extLst>
          </p:cNvPr>
          <p:cNvCxnSpPr/>
          <p:nvPr userDrawn="1"/>
        </p:nvCxnSpPr>
        <p:spPr>
          <a:xfrm>
            <a:off x="5649362" y="5391149"/>
            <a:ext cx="570443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9DB6E585-700D-46CF-8B7C-6AE9D033164C}"/>
              </a:ext>
            </a:extLst>
          </p:cNvPr>
          <p:cNvSpPr/>
          <p:nvPr userDrawn="1"/>
        </p:nvSpPr>
        <p:spPr>
          <a:xfrm>
            <a:off x="5540722" y="1943101"/>
            <a:ext cx="525101" cy="762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400" b="1" dirty="0">
                <a:solidFill>
                  <a:schemeClr val="tx2"/>
                </a:solidFill>
              </a:rPr>
              <a:t>01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0E65926-BCED-4190-8644-761ECA12C2C6}"/>
              </a:ext>
            </a:extLst>
          </p:cNvPr>
          <p:cNvSpPr/>
          <p:nvPr userDrawn="1"/>
        </p:nvSpPr>
        <p:spPr>
          <a:xfrm>
            <a:off x="5540722" y="2819400"/>
            <a:ext cx="525101" cy="762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400" b="1" dirty="0">
                <a:solidFill>
                  <a:schemeClr val="accent1"/>
                </a:solidFill>
              </a:rPr>
              <a:t>02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109DFB5-05AF-4096-8B7C-1FB1BD5DE8CC}"/>
              </a:ext>
            </a:extLst>
          </p:cNvPr>
          <p:cNvSpPr/>
          <p:nvPr userDrawn="1"/>
        </p:nvSpPr>
        <p:spPr>
          <a:xfrm>
            <a:off x="5540722" y="3695699"/>
            <a:ext cx="525101" cy="762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400" b="1" dirty="0">
                <a:solidFill>
                  <a:schemeClr val="accent2"/>
                </a:solidFill>
              </a:rPr>
              <a:t>03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9059245-726B-44C5-B562-CC9922BC8FF1}"/>
              </a:ext>
            </a:extLst>
          </p:cNvPr>
          <p:cNvSpPr/>
          <p:nvPr userDrawn="1"/>
        </p:nvSpPr>
        <p:spPr>
          <a:xfrm>
            <a:off x="5540722" y="4571998"/>
            <a:ext cx="525101" cy="762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400" b="1" dirty="0">
                <a:solidFill>
                  <a:schemeClr val="accent4"/>
                </a:solidFill>
              </a:rPr>
              <a:t>04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12FA2AF-BCB7-4433-B8E3-B8C62C8C313E}"/>
              </a:ext>
            </a:extLst>
          </p:cNvPr>
          <p:cNvSpPr/>
          <p:nvPr userDrawn="1"/>
        </p:nvSpPr>
        <p:spPr>
          <a:xfrm>
            <a:off x="5540722" y="5448301"/>
            <a:ext cx="525101" cy="762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400" b="1" dirty="0">
                <a:solidFill>
                  <a:schemeClr val="accent3"/>
                </a:solidFill>
              </a:rPr>
              <a:t>05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585E259-D8B1-4EDB-9EA8-4C615806F70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47305" y="1981199"/>
            <a:ext cx="5206497" cy="685800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B7F1107C-55CB-4259-81C3-5FDE4F9D14D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47305" y="2857499"/>
            <a:ext cx="5206497" cy="685800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28" name="Text Placeholder 15">
            <a:extLst>
              <a:ext uri="{FF2B5EF4-FFF2-40B4-BE49-F238E27FC236}">
                <a16:creationId xmlns:a16="http://schemas.microsoft.com/office/drawing/2014/main" id="{DA17263F-8D63-46D0-9F6E-E86BADED02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47305" y="3733799"/>
            <a:ext cx="5206497" cy="685800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71E291D9-ED3C-4ECF-AD1B-C32FAE1239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47305" y="4610099"/>
            <a:ext cx="5206497" cy="685800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A0CADF3A-8019-42FC-B181-1BF003FDCD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47305" y="5486399"/>
            <a:ext cx="5206497" cy="685800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8A51ED7F-6151-48E5-9266-2C67AF60A1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68317" y="4714049"/>
            <a:ext cx="477899" cy="477899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D92A6680-D7F1-4F48-ADB1-117366D1D23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8667" y="2971799"/>
            <a:ext cx="457200" cy="457200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175F3691-4ADD-478F-A625-BCD7E1FB278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78903" y="2095737"/>
            <a:ext cx="456727" cy="456727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885167B9-9CF7-49B3-9B5A-D4399630B40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8667" y="5600699"/>
            <a:ext cx="457200" cy="457200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5C22C9C9-0A52-465D-9293-FAE687267F7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8667" y="3848099"/>
            <a:ext cx="4572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52515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97D94CF1-7A02-4C8D-A3F7-EEF622FABC6D}"/>
              </a:ext>
            </a:extLst>
          </p:cNvPr>
          <p:cNvSpPr/>
          <p:nvPr userDrawn="1"/>
        </p:nvSpPr>
        <p:spPr>
          <a:xfrm>
            <a:off x="3757614" y="5485001"/>
            <a:ext cx="1704975" cy="762001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682AF88A-A7CB-46D6-BA45-579307BD0073}"/>
              </a:ext>
            </a:extLst>
          </p:cNvPr>
          <p:cNvCxnSpPr/>
          <p:nvPr userDrawn="1"/>
        </p:nvCxnSpPr>
        <p:spPr>
          <a:xfrm>
            <a:off x="5632165" y="5420580"/>
            <a:ext cx="570443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064E2D5A-D44E-437B-B928-3226F59AF40F}"/>
              </a:ext>
            </a:extLst>
          </p:cNvPr>
          <p:cNvSpPr/>
          <p:nvPr userDrawn="1"/>
        </p:nvSpPr>
        <p:spPr>
          <a:xfrm>
            <a:off x="5540722" y="5485001"/>
            <a:ext cx="525101" cy="762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400" b="1" dirty="0">
                <a:solidFill>
                  <a:schemeClr val="tx2"/>
                </a:solidFill>
              </a:rPr>
              <a:t>06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FAC5A51F-9625-4DA7-97EF-E3184971BA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47305" y="5523099"/>
            <a:ext cx="5206497" cy="685800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C14F0E1-1E6A-485A-8C76-CCAC88E7EEED}"/>
              </a:ext>
            </a:extLst>
          </p:cNvPr>
          <p:cNvSpPr/>
          <p:nvPr userDrawn="1"/>
        </p:nvSpPr>
        <p:spPr>
          <a:xfrm>
            <a:off x="0" y="6558742"/>
            <a:ext cx="6591300" cy="3278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59EBBAF8-4E8E-443A-829C-C8674F32C5DE}"/>
              </a:ext>
            </a:extLst>
          </p:cNvPr>
          <p:cNvSpPr/>
          <p:nvPr userDrawn="1"/>
        </p:nvSpPr>
        <p:spPr>
          <a:xfrm>
            <a:off x="3757614" y="1103501"/>
            <a:ext cx="1704975" cy="762001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23A5EE7-8121-4843-B259-0E0077EE4143}"/>
              </a:ext>
            </a:extLst>
          </p:cNvPr>
          <p:cNvSpPr/>
          <p:nvPr userDrawn="1"/>
        </p:nvSpPr>
        <p:spPr>
          <a:xfrm>
            <a:off x="3757614" y="1979801"/>
            <a:ext cx="1704975" cy="762001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A88DB64-85E7-4619-9416-F69121B69F56}"/>
              </a:ext>
            </a:extLst>
          </p:cNvPr>
          <p:cNvSpPr/>
          <p:nvPr userDrawn="1"/>
        </p:nvSpPr>
        <p:spPr>
          <a:xfrm>
            <a:off x="3757614" y="2856101"/>
            <a:ext cx="1704975" cy="762001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939FE0B-B439-4A33-8848-8D3A17AA58B0}"/>
              </a:ext>
            </a:extLst>
          </p:cNvPr>
          <p:cNvSpPr/>
          <p:nvPr userDrawn="1"/>
        </p:nvSpPr>
        <p:spPr>
          <a:xfrm>
            <a:off x="3757614" y="3732401"/>
            <a:ext cx="1704975" cy="762001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57A99CC9-E6A2-4DB0-83BD-635ECBA46198}"/>
              </a:ext>
            </a:extLst>
          </p:cNvPr>
          <p:cNvSpPr/>
          <p:nvPr userDrawn="1"/>
        </p:nvSpPr>
        <p:spPr>
          <a:xfrm>
            <a:off x="3757614" y="4608701"/>
            <a:ext cx="1704975" cy="762001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866E71-EEE4-424C-8D49-85C9B5B5A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62501" y="365128"/>
            <a:ext cx="6591300" cy="50770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genda</a:t>
            </a:r>
            <a:endParaRPr lang="en-IN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38E709D-C74D-4489-8654-048602E85F4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4610100" cy="6858000"/>
          </a:xfrm>
          <a:solidFill>
            <a:schemeClr val="bg1"/>
          </a:solidFill>
        </p:spPr>
        <p:txBody>
          <a:bodyPr/>
          <a:lstStyle/>
          <a:p>
            <a:endParaRPr lang="en-IN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0CBFE46-2F5C-4708-A58E-430586F6723A}"/>
              </a:ext>
            </a:extLst>
          </p:cNvPr>
          <p:cNvCxnSpPr/>
          <p:nvPr userDrawn="1"/>
        </p:nvCxnSpPr>
        <p:spPr>
          <a:xfrm>
            <a:off x="5649362" y="1922649"/>
            <a:ext cx="570443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7380889-7929-4675-AEBA-6253F15A550D}"/>
              </a:ext>
            </a:extLst>
          </p:cNvPr>
          <p:cNvCxnSpPr/>
          <p:nvPr userDrawn="1"/>
        </p:nvCxnSpPr>
        <p:spPr>
          <a:xfrm>
            <a:off x="5649362" y="2798949"/>
            <a:ext cx="570443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2DF99CC-6349-40D3-BECD-C0EA23F6D053}"/>
              </a:ext>
            </a:extLst>
          </p:cNvPr>
          <p:cNvCxnSpPr/>
          <p:nvPr userDrawn="1"/>
        </p:nvCxnSpPr>
        <p:spPr>
          <a:xfrm>
            <a:off x="5649362" y="3675249"/>
            <a:ext cx="570443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3DA6FDF-69ED-4FB7-8490-D2542867051E}"/>
              </a:ext>
            </a:extLst>
          </p:cNvPr>
          <p:cNvCxnSpPr/>
          <p:nvPr userDrawn="1"/>
        </p:nvCxnSpPr>
        <p:spPr>
          <a:xfrm>
            <a:off x="5649362" y="4551549"/>
            <a:ext cx="570443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9DB6E585-700D-46CF-8B7C-6AE9D033164C}"/>
              </a:ext>
            </a:extLst>
          </p:cNvPr>
          <p:cNvSpPr/>
          <p:nvPr userDrawn="1"/>
        </p:nvSpPr>
        <p:spPr>
          <a:xfrm>
            <a:off x="5540722" y="1103501"/>
            <a:ext cx="525101" cy="762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400" b="1" dirty="0">
                <a:solidFill>
                  <a:schemeClr val="tx2"/>
                </a:solidFill>
              </a:rPr>
              <a:t>01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0E65926-BCED-4190-8644-761ECA12C2C6}"/>
              </a:ext>
            </a:extLst>
          </p:cNvPr>
          <p:cNvSpPr/>
          <p:nvPr userDrawn="1"/>
        </p:nvSpPr>
        <p:spPr>
          <a:xfrm>
            <a:off x="5540722" y="1979800"/>
            <a:ext cx="525101" cy="762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400" b="1" dirty="0">
                <a:solidFill>
                  <a:schemeClr val="accent1"/>
                </a:solidFill>
              </a:rPr>
              <a:t>02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109DFB5-05AF-4096-8B7C-1FB1BD5DE8CC}"/>
              </a:ext>
            </a:extLst>
          </p:cNvPr>
          <p:cNvSpPr/>
          <p:nvPr userDrawn="1"/>
        </p:nvSpPr>
        <p:spPr>
          <a:xfrm>
            <a:off x="5540722" y="2856099"/>
            <a:ext cx="525101" cy="762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400" b="1" dirty="0">
                <a:solidFill>
                  <a:schemeClr val="accent2"/>
                </a:solidFill>
              </a:rPr>
              <a:t>03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9059245-726B-44C5-B562-CC9922BC8FF1}"/>
              </a:ext>
            </a:extLst>
          </p:cNvPr>
          <p:cNvSpPr/>
          <p:nvPr userDrawn="1"/>
        </p:nvSpPr>
        <p:spPr>
          <a:xfrm>
            <a:off x="5540722" y="3732398"/>
            <a:ext cx="525101" cy="762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400" b="1" dirty="0">
                <a:solidFill>
                  <a:schemeClr val="accent4"/>
                </a:solidFill>
              </a:rPr>
              <a:t>04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12FA2AF-BCB7-4433-B8E3-B8C62C8C313E}"/>
              </a:ext>
            </a:extLst>
          </p:cNvPr>
          <p:cNvSpPr/>
          <p:nvPr userDrawn="1"/>
        </p:nvSpPr>
        <p:spPr>
          <a:xfrm>
            <a:off x="5540722" y="4608701"/>
            <a:ext cx="525101" cy="762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400" b="1" dirty="0">
                <a:solidFill>
                  <a:schemeClr val="accent3"/>
                </a:solidFill>
              </a:rPr>
              <a:t>05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585E259-D8B1-4EDB-9EA8-4C615806F70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47305" y="1141599"/>
            <a:ext cx="5206497" cy="685800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B7F1107C-55CB-4259-81C3-5FDE4F9D14D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47305" y="2017899"/>
            <a:ext cx="5206497" cy="685800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28" name="Text Placeholder 15">
            <a:extLst>
              <a:ext uri="{FF2B5EF4-FFF2-40B4-BE49-F238E27FC236}">
                <a16:creationId xmlns:a16="http://schemas.microsoft.com/office/drawing/2014/main" id="{DA17263F-8D63-46D0-9F6E-E86BADED02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47305" y="2894199"/>
            <a:ext cx="5206497" cy="685800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71E291D9-ED3C-4ECF-AD1B-C32FAE1239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47305" y="3770499"/>
            <a:ext cx="5206497" cy="685800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A0CADF3A-8019-42FC-B181-1BF003FDCD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47305" y="4646799"/>
            <a:ext cx="5206497" cy="685800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DECD6CE0-8EB7-4008-A3AD-E2453976AF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68317" y="3841593"/>
            <a:ext cx="477899" cy="477899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0FBBEF55-C43D-461D-A54A-B0D619BCDFE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8667" y="2099343"/>
            <a:ext cx="457200" cy="457200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9415D68E-4090-4FAD-9F21-2688CFE9134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78903" y="1223281"/>
            <a:ext cx="456727" cy="456727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6DF33445-F926-4EFB-BE19-AD9BA7CAAD8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8667" y="4728243"/>
            <a:ext cx="457200" cy="45720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86DB489D-145D-4727-A9BC-60160822525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8667" y="2975643"/>
            <a:ext cx="457200" cy="457200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DEDE510B-24FE-4B54-8818-C43283A4392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9489" y="5580421"/>
            <a:ext cx="456727" cy="456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144367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Agend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247CC767-71C5-4B35-B6CD-7444AB4E80EF}"/>
              </a:ext>
            </a:extLst>
          </p:cNvPr>
          <p:cNvSpPr/>
          <p:nvPr userDrawn="1"/>
        </p:nvSpPr>
        <p:spPr>
          <a:xfrm>
            <a:off x="3740416" y="5327835"/>
            <a:ext cx="1704975" cy="564121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97D94CF1-7A02-4C8D-A3F7-EEF622FABC6D}"/>
              </a:ext>
            </a:extLst>
          </p:cNvPr>
          <p:cNvSpPr/>
          <p:nvPr userDrawn="1"/>
        </p:nvSpPr>
        <p:spPr>
          <a:xfrm>
            <a:off x="3757614" y="4637075"/>
            <a:ext cx="1704975" cy="564121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682AF88A-A7CB-46D6-BA45-579307BD0073}"/>
              </a:ext>
            </a:extLst>
          </p:cNvPr>
          <p:cNvCxnSpPr>
            <a:cxnSpLocks/>
          </p:cNvCxnSpPr>
          <p:nvPr userDrawn="1"/>
        </p:nvCxnSpPr>
        <p:spPr>
          <a:xfrm>
            <a:off x="5632165" y="4572654"/>
            <a:ext cx="570443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064E2D5A-D44E-437B-B928-3226F59AF40F}"/>
              </a:ext>
            </a:extLst>
          </p:cNvPr>
          <p:cNvSpPr/>
          <p:nvPr userDrawn="1"/>
        </p:nvSpPr>
        <p:spPr>
          <a:xfrm>
            <a:off x="5540722" y="4637075"/>
            <a:ext cx="525101" cy="5641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400" b="1" dirty="0">
                <a:solidFill>
                  <a:schemeClr val="tx2"/>
                </a:solidFill>
              </a:rPr>
              <a:t>06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FAC5A51F-9625-4DA7-97EF-E3184971BA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47305" y="4675173"/>
            <a:ext cx="5206497" cy="507708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C14F0E1-1E6A-485A-8C76-CCAC88E7EEED}"/>
              </a:ext>
            </a:extLst>
          </p:cNvPr>
          <p:cNvSpPr/>
          <p:nvPr userDrawn="1"/>
        </p:nvSpPr>
        <p:spPr>
          <a:xfrm>
            <a:off x="0" y="6558742"/>
            <a:ext cx="6591300" cy="3278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59EBBAF8-4E8E-443A-829C-C8674F32C5DE}"/>
              </a:ext>
            </a:extLst>
          </p:cNvPr>
          <p:cNvSpPr/>
          <p:nvPr userDrawn="1"/>
        </p:nvSpPr>
        <p:spPr>
          <a:xfrm>
            <a:off x="3757614" y="1103501"/>
            <a:ext cx="1704975" cy="564121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23A5EE7-8121-4843-B259-0E0077EE4143}"/>
              </a:ext>
            </a:extLst>
          </p:cNvPr>
          <p:cNvSpPr/>
          <p:nvPr userDrawn="1"/>
        </p:nvSpPr>
        <p:spPr>
          <a:xfrm>
            <a:off x="3757614" y="1788602"/>
            <a:ext cx="1704975" cy="564121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A88DB64-85E7-4619-9416-F69121B69F56}"/>
              </a:ext>
            </a:extLst>
          </p:cNvPr>
          <p:cNvSpPr/>
          <p:nvPr userDrawn="1"/>
        </p:nvSpPr>
        <p:spPr>
          <a:xfrm>
            <a:off x="3757614" y="2490329"/>
            <a:ext cx="1704975" cy="564121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939FE0B-B439-4A33-8848-8D3A17AA58B0}"/>
              </a:ext>
            </a:extLst>
          </p:cNvPr>
          <p:cNvSpPr/>
          <p:nvPr userDrawn="1"/>
        </p:nvSpPr>
        <p:spPr>
          <a:xfrm>
            <a:off x="3757614" y="3192056"/>
            <a:ext cx="1704975" cy="564121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57A99CC9-E6A2-4DB0-83BD-635ECBA46198}"/>
              </a:ext>
            </a:extLst>
          </p:cNvPr>
          <p:cNvSpPr/>
          <p:nvPr userDrawn="1"/>
        </p:nvSpPr>
        <p:spPr>
          <a:xfrm>
            <a:off x="3757614" y="3893783"/>
            <a:ext cx="1704975" cy="564121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866E71-EEE4-424C-8D49-85C9B5B5A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62501" y="365128"/>
            <a:ext cx="6591300" cy="50770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genda</a:t>
            </a:r>
            <a:endParaRPr lang="en-IN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38E709D-C74D-4489-8654-048602E85F4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4610100" cy="6858000"/>
          </a:xfrm>
          <a:solidFill>
            <a:schemeClr val="bg1"/>
          </a:solidFill>
        </p:spPr>
        <p:txBody>
          <a:bodyPr/>
          <a:lstStyle/>
          <a:p>
            <a:endParaRPr lang="en-IN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0CBFE46-2F5C-4708-A58E-430586F6723A}"/>
              </a:ext>
            </a:extLst>
          </p:cNvPr>
          <p:cNvCxnSpPr>
            <a:cxnSpLocks/>
          </p:cNvCxnSpPr>
          <p:nvPr userDrawn="1"/>
        </p:nvCxnSpPr>
        <p:spPr>
          <a:xfrm>
            <a:off x="5649362" y="1731450"/>
            <a:ext cx="570443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7380889-7929-4675-AEBA-6253F15A550D}"/>
              </a:ext>
            </a:extLst>
          </p:cNvPr>
          <p:cNvCxnSpPr>
            <a:cxnSpLocks/>
          </p:cNvCxnSpPr>
          <p:nvPr userDrawn="1"/>
        </p:nvCxnSpPr>
        <p:spPr>
          <a:xfrm>
            <a:off x="5649362" y="2433177"/>
            <a:ext cx="570443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2DF99CC-6349-40D3-BECD-C0EA23F6D053}"/>
              </a:ext>
            </a:extLst>
          </p:cNvPr>
          <p:cNvCxnSpPr>
            <a:cxnSpLocks/>
          </p:cNvCxnSpPr>
          <p:nvPr userDrawn="1"/>
        </p:nvCxnSpPr>
        <p:spPr>
          <a:xfrm>
            <a:off x="5649362" y="3134904"/>
            <a:ext cx="570443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3DA6FDF-69ED-4FB7-8490-D2542867051E}"/>
              </a:ext>
            </a:extLst>
          </p:cNvPr>
          <p:cNvCxnSpPr>
            <a:cxnSpLocks/>
          </p:cNvCxnSpPr>
          <p:nvPr userDrawn="1"/>
        </p:nvCxnSpPr>
        <p:spPr>
          <a:xfrm>
            <a:off x="5649362" y="3836631"/>
            <a:ext cx="570443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9DB6E585-700D-46CF-8B7C-6AE9D033164C}"/>
              </a:ext>
            </a:extLst>
          </p:cNvPr>
          <p:cNvSpPr/>
          <p:nvPr userDrawn="1"/>
        </p:nvSpPr>
        <p:spPr>
          <a:xfrm>
            <a:off x="5540722" y="1103501"/>
            <a:ext cx="525101" cy="5641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400" b="1" dirty="0">
                <a:solidFill>
                  <a:schemeClr val="tx2"/>
                </a:solidFill>
              </a:rPr>
              <a:t>01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0E65926-BCED-4190-8644-761ECA12C2C6}"/>
              </a:ext>
            </a:extLst>
          </p:cNvPr>
          <p:cNvSpPr/>
          <p:nvPr userDrawn="1"/>
        </p:nvSpPr>
        <p:spPr>
          <a:xfrm>
            <a:off x="5540722" y="1788601"/>
            <a:ext cx="525101" cy="5641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400" b="1" dirty="0">
                <a:solidFill>
                  <a:schemeClr val="accent1"/>
                </a:solidFill>
              </a:rPr>
              <a:t>02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109DFB5-05AF-4096-8B7C-1FB1BD5DE8CC}"/>
              </a:ext>
            </a:extLst>
          </p:cNvPr>
          <p:cNvSpPr/>
          <p:nvPr userDrawn="1"/>
        </p:nvSpPr>
        <p:spPr>
          <a:xfrm>
            <a:off x="5540722" y="2490327"/>
            <a:ext cx="525101" cy="5641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400" b="1" dirty="0">
                <a:solidFill>
                  <a:schemeClr val="accent2"/>
                </a:solidFill>
              </a:rPr>
              <a:t>03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9059245-726B-44C5-B562-CC9922BC8FF1}"/>
              </a:ext>
            </a:extLst>
          </p:cNvPr>
          <p:cNvSpPr/>
          <p:nvPr userDrawn="1"/>
        </p:nvSpPr>
        <p:spPr>
          <a:xfrm>
            <a:off x="5540722" y="3192053"/>
            <a:ext cx="525101" cy="5641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400" b="1" dirty="0">
                <a:solidFill>
                  <a:schemeClr val="accent4"/>
                </a:solidFill>
              </a:rPr>
              <a:t>04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12FA2AF-BCB7-4433-B8E3-B8C62C8C313E}"/>
              </a:ext>
            </a:extLst>
          </p:cNvPr>
          <p:cNvSpPr/>
          <p:nvPr userDrawn="1"/>
        </p:nvSpPr>
        <p:spPr>
          <a:xfrm>
            <a:off x="5540722" y="3893783"/>
            <a:ext cx="525101" cy="5641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400" b="1" dirty="0">
                <a:solidFill>
                  <a:schemeClr val="accent3"/>
                </a:solidFill>
              </a:rPr>
              <a:t>05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585E259-D8B1-4EDB-9EA8-4C615806F70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47305" y="1141599"/>
            <a:ext cx="5206497" cy="507708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B7F1107C-55CB-4259-81C3-5FDE4F9D14D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47305" y="1826700"/>
            <a:ext cx="5206497" cy="507708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28" name="Text Placeholder 15">
            <a:extLst>
              <a:ext uri="{FF2B5EF4-FFF2-40B4-BE49-F238E27FC236}">
                <a16:creationId xmlns:a16="http://schemas.microsoft.com/office/drawing/2014/main" id="{DA17263F-8D63-46D0-9F6E-E86BADED02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47305" y="2528427"/>
            <a:ext cx="5206497" cy="507708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71E291D9-ED3C-4ECF-AD1B-C32FAE1239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47305" y="3230154"/>
            <a:ext cx="5206497" cy="507708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A0CADF3A-8019-42FC-B181-1BF003FDCD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47305" y="3931881"/>
            <a:ext cx="5206497" cy="507708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984D45EE-753B-409F-9953-33FE9C47DF1E}"/>
              </a:ext>
            </a:extLst>
          </p:cNvPr>
          <p:cNvCxnSpPr>
            <a:cxnSpLocks/>
          </p:cNvCxnSpPr>
          <p:nvPr userDrawn="1"/>
        </p:nvCxnSpPr>
        <p:spPr>
          <a:xfrm>
            <a:off x="5632164" y="5270683"/>
            <a:ext cx="570443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930797B3-FA8A-4907-9128-4CC8C966A28E}"/>
              </a:ext>
            </a:extLst>
          </p:cNvPr>
          <p:cNvSpPr/>
          <p:nvPr userDrawn="1"/>
        </p:nvSpPr>
        <p:spPr>
          <a:xfrm>
            <a:off x="5523524" y="5327834"/>
            <a:ext cx="525101" cy="5641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400" b="1" dirty="0">
                <a:solidFill>
                  <a:schemeClr val="accent1"/>
                </a:solidFill>
              </a:rPr>
              <a:t>07</a:t>
            </a:r>
          </a:p>
        </p:txBody>
      </p:sp>
      <p:sp>
        <p:nvSpPr>
          <p:cNvPr id="38" name="Text Placeholder 15">
            <a:extLst>
              <a:ext uri="{FF2B5EF4-FFF2-40B4-BE49-F238E27FC236}">
                <a16:creationId xmlns:a16="http://schemas.microsoft.com/office/drawing/2014/main" id="{759342A0-3A81-4623-B115-9CA214C8FB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30107" y="5365933"/>
            <a:ext cx="5206497" cy="507708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FB64107D-10B5-41CD-A59D-B43647308A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09234" y="3272654"/>
            <a:ext cx="441846" cy="441846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552D50AE-D029-4623-AD38-78B5E72D3EA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7887" y="1869200"/>
            <a:ext cx="422708" cy="422708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D639D304-F59B-4C1F-9ECF-0A2A244D6C2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78903" y="1190625"/>
            <a:ext cx="422271" cy="422271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BCFDBB50-0191-48A1-95B8-589D1BC74F9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9234" y="3931881"/>
            <a:ext cx="422708" cy="422708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48D258A6-708C-4B34-A93E-590352FCCD4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7456" y="2570927"/>
            <a:ext cx="422708" cy="422708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BDD689F3-DAF7-4F03-A352-902D52A6DC0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353" y="4691726"/>
            <a:ext cx="456727" cy="456727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E8F1649C-B474-47FB-9FCF-399570E8F8D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09234" y="5363079"/>
            <a:ext cx="354320" cy="473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56347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Agend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AF462A7F-ED8D-4F93-BE9D-B9A33C5B3303}"/>
              </a:ext>
            </a:extLst>
          </p:cNvPr>
          <p:cNvSpPr/>
          <p:nvPr userDrawn="1"/>
        </p:nvSpPr>
        <p:spPr>
          <a:xfrm>
            <a:off x="3740415" y="6023026"/>
            <a:ext cx="1704975" cy="564121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247CC767-71C5-4B35-B6CD-7444AB4E80EF}"/>
              </a:ext>
            </a:extLst>
          </p:cNvPr>
          <p:cNvSpPr/>
          <p:nvPr userDrawn="1"/>
        </p:nvSpPr>
        <p:spPr>
          <a:xfrm>
            <a:off x="3740416" y="5327835"/>
            <a:ext cx="1704975" cy="564121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97D94CF1-7A02-4C8D-A3F7-EEF622FABC6D}"/>
              </a:ext>
            </a:extLst>
          </p:cNvPr>
          <p:cNvSpPr/>
          <p:nvPr userDrawn="1"/>
        </p:nvSpPr>
        <p:spPr>
          <a:xfrm>
            <a:off x="3757614" y="4637075"/>
            <a:ext cx="1704975" cy="564121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682AF88A-A7CB-46D6-BA45-579307BD0073}"/>
              </a:ext>
            </a:extLst>
          </p:cNvPr>
          <p:cNvCxnSpPr>
            <a:cxnSpLocks/>
          </p:cNvCxnSpPr>
          <p:nvPr userDrawn="1"/>
        </p:nvCxnSpPr>
        <p:spPr>
          <a:xfrm>
            <a:off x="5632165" y="4572654"/>
            <a:ext cx="570443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064E2D5A-D44E-437B-B928-3226F59AF40F}"/>
              </a:ext>
            </a:extLst>
          </p:cNvPr>
          <p:cNvSpPr/>
          <p:nvPr userDrawn="1"/>
        </p:nvSpPr>
        <p:spPr>
          <a:xfrm>
            <a:off x="5540722" y="4637075"/>
            <a:ext cx="525101" cy="5641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400" b="1" dirty="0">
                <a:solidFill>
                  <a:schemeClr val="tx2"/>
                </a:solidFill>
              </a:rPr>
              <a:t>06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FAC5A51F-9625-4DA7-97EF-E3184971BA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47305" y="4675173"/>
            <a:ext cx="5206497" cy="507708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C14F0E1-1E6A-485A-8C76-CCAC88E7EEED}"/>
              </a:ext>
            </a:extLst>
          </p:cNvPr>
          <p:cNvSpPr/>
          <p:nvPr userDrawn="1"/>
        </p:nvSpPr>
        <p:spPr>
          <a:xfrm>
            <a:off x="0" y="6558742"/>
            <a:ext cx="6591300" cy="3278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59EBBAF8-4E8E-443A-829C-C8674F32C5DE}"/>
              </a:ext>
            </a:extLst>
          </p:cNvPr>
          <p:cNvSpPr/>
          <p:nvPr userDrawn="1"/>
        </p:nvSpPr>
        <p:spPr>
          <a:xfrm>
            <a:off x="3757614" y="1103501"/>
            <a:ext cx="1704975" cy="564121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23A5EE7-8121-4843-B259-0E0077EE4143}"/>
              </a:ext>
            </a:extLst>
          </p:cNvPr>
          <p:cNvSpPr/>
          <p:nvPr userDrawn="1"/>
        </p:nvSpPr>
        <p:spPr>
          <a:xfrm>
            <a:off x="3757614" y="1788602"/>
            <a:ext cx="1704975" cy="564121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A88DB64-85E7-4619-9416-F69121B69F56}"/>
              </a:ext>
            </a:extLst>
          </p:cNvPr>
          <p:cNvSpPr/>
          <p:nvPr userDrawn="1"/>
        </p:nvSpPr>
        <p:spPr>
          <a:xfrm>
            <a:off x="3757614" y="2490329"/>
            <a:ext cx="1704975" cy="564121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939FE0B-B439-4A33-8848-8D3A17AA58B0}"/>
              </a:ext>
            </a:extLst>
          </p:cNvPr>
          <p:cNvSpPr/>
          <p:nvPr userDrawn="1"/>
        </p:nvSpPr>
        <p:spPr>
          <a:xfrm>
            <a:off x="3757614" y="3192056"/>
            <a:ext cx="1704975" cy="564121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57A99CC9-E6A2-4DB0-83BD-635ECBA46198}"/>
              </a:ext>
            </a:extLst>
          </p:cNvPr>
          <p:cNvSpPr/>
          <p:nvPr userDrawn="1"/>
        </p:nvSpPr>
        <p:spPr>
          <a:xfrm>
            <a:off x="3757614" y="3893783"/>
            <a:ext cx="1704975" cy="564121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866E71-EEE4-424C-8D49-85C9B5B5A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62501" y="365128"/>
            <a:ext cx="6591300" cy="50770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genda</a:t>
            </a:r>
            <a:endParaRPr lang="en-IN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38E709D-C74D-4489-8654-048602E85F4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4610100" cy="6858000"/>
          </a:xfrm>
          <a:solidFill>
            <a:schemeClr val="bg1"/>
          </a:solidFill>
        </p:spPr>
        <p:txBody>
          <a:bodyPr/>
          <a:lstStyle/>
          <a:p>
            <a:endParaRPr lang="en-IN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0CBFE46-2F5C-4708-A58E-430586F6723A}"/>
              </a:ext>
            </a:extLst>
          </p:cNvPr>
          <p:cNvCxnSpPr>
            <a:cxnSpLocks/>
          </p:cNvCxnSpPr>
          <p:nvPr userDrawn="1"/>
        </p:nvCxnSpPr>
        <p:spPr>
          <a:xfrm>
            <a:off x="5649362" y="1731450"/>
            <a:ext cx="570443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7380889-7929-4675-AEBA-6253F15A550D}"/>
              </a:ext>
            </a:extLst>
          </p:cNvPr>
          <p:cNvCxnSpPr>
            <a:cxnSpLocks/>
          </p:cNvCxnSpPr>
          <p:nvPr userDrawn="1"/>
        </p:nvCxnSpPr>
        <p:spPr>
          <a:xfrm>
            <a:off x="5649362" y="2433177"/>
            <a:ext cx="570443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2DF99CC-6349-40D3-BECD-C0EA23F6D053}"/>
              </a:ext>
            </a:extLst>
          </p:cNvPr>
          <p:cNvCxnSpPr>
            <a:cxnSpLocks/>
          </p:cNvCxnSpPr>
          <p:nvPr userDrawn="1"/>
        </p:nvCxnSpPr>
        <p:spPr>
          <a:xfrm>
            <a:off x="5649362" y="3134904"/>
            <a:ext cx="570443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3DA6FDF-69ED-4FB7-8490-D2542867051E}"/>
              </a:ext>
            </a:extLst>
          </p:cNvPr>
          <p:cNvCxnSpPr>
            <a:cxnSpLocks/>
          </p:cNvCxnSpPr>
          <p:nvPr userDrawn="1"/>
        </p:nvCxnSpPr>
        <p:spPr>
          <a:xfrm>
            <a:off x="5649362" y="3836631"/>
            <a:ext cx="570443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9DB6E585-700D-46CF-8B7C-6AE9D033164C}"/>
              </a:ext>
            </a:extLst>
          </p:cNvPr>
          <p:cNvSpPr/>
          <p:nvPr userDrawn="1"/>
        </p:nvSpPr>
        <p:spPr>
          <a:xfrm>
            <a:off x="5540722" y="1103501"/>
            <a:ext cx="525101" cy="5641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400" b="1" dirty="0">
                <a:solidFill>
                  <a:schemeClr val="tx2"/>
                </a:solidFill>
              </a:rPr>
              <a:t>01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0E65926-BCED-4190-8644-761ECA12C2C6}"/>
              </a:ext>
            </a:extLst>
          </p:cNvPr>
          <p:cNvSpPr/>
          <p:nvPr userDrawn="1"/>
        </p:nvSpPr>
        <p:spPr>
          <a:xfrm>
            <a:off x="5540722" y="1788601"/>
            <a:ext cx="525101" cy="5641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400" b="1" dirty="0">
                <a:solidFill>
                  <a:schemeClr val="accent1"/>
                </a:solidFill>
              </a:rPr>
              <a:t>02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109DFB5-05AF-4096-8B7C-1FB1BD5DE8CC}"/>
              </a:ext>
            </a:extLst>
          </p:cNvPr>
          <p:cNvSpPr/>
          <p:nvPr userDrawn="1"/>
        </p:nvSpPr>
        <p:spPr>
          <a:xfrm>
            <a:off x="5540722" y="2490327"/>
            <a:ext cx="525101" cy="5641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400" b="1" dirty="0">
                <a:solidFill>
                  <a:schemeClr val="accent2"/>
                </a:solidFill>
              </a:rPr>
              <a:t>03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9059245-726B-44C5-B562-CC9922BC8FF1}"/>
              </a:ext>
            </a:extLst>
          </p:cNvPr>
          <p:cNvSpPr/>
          <p:nvPr userDrawn="1"/>
        </p:nvSpPr>
        <p:spPr>
          <a:xfrm>
            <a:off x="5540722" y="3192053"/>
            <a:ext cx="525101" cy="5641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400" b="1" dirty="0">
                <a:solidFill>
                  <a:schemeClr val="accent4"/>
                </a:solidFill>
              </a:rPr>
              <a:t>04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12FA2AF-BCB7-4433-B8E3-B8C62C8C313E}"/>
              </a:ext>
            </a:extLst>
          </p:cNvPr>
          <p:cNvSpPr/>
          <p:nvPr userDrawn="1"/>
        </p:nvSpPr>
        <p:spPr>
          <a:xfrm>
            <a:off x="5540722" y="3893783"/>
            <a:ext cx="525101" cy="5641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400" b="1" dirty="0">
                <a:solidFill>
                  <a:schemeClr val="accent3"/>
                </a:solidFill>
              </a:rPr>
              <a:t>05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585E259-D8B1-4EDB-9EA8-4C615806F70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47305" y="1141599"/>
            <a:ext cx="5206497" cy="507708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B7F1107C-55CB-4259-81C3-5FDE4F9D14D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47305" y="1826700"/>
            <a:ext cx="5206497" cy="507708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28" name="Text Placeholder 15">
            <a:extLst>
              <a:ext uri="{FF2B5EF4-FFF2-40B4-BE49-F238E27FC236}">
                <a16:creationId xmlns:a16="http://schemas.microsoft.com/office/drawing/2014/main" id="{DA17263F-8D63-46D0-9F6E-E86BADED02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47305" y="2528427"/>
            <a:ext cx="5206497" cy="507708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71E291D9-ED3C-4ECF-AD1B-C32FAE1239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47305" y="3230154"/>
            <a:ext cx="5206497" cy="507708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A0CADF3A-8019-42FC-B181-1BF003FDCD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47305" y="3931881"/>
            <a:ext cx="5206497" cy="507708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984D45EE-753B-409F-9953-33FE9C47DF1E}"/>
              </a:ext>
            </a:extLst>
          </p:cNvPr>
          <p:cNvCxnSpPr>
            <a:cxnSpLocks/>
          </p:cNvCxnSpPr>
          <p:nvPr userDrawn="1"/>
        </p:nvCxnSpPr>
        <p:spPr>
          <a:xfrm>
            <a:off x="5632164" y="5270683"/>
            <a:ext cx="570443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930797B3-FA8A-4907-9128-4CC8C966A28E}"/>
              </a:ext>
            </a:extLst>
          </p:cNvPr>
          <p:cNvSpPr/>
          <p:nvPr userDrawn="1"/>
        </p:nvSpPr>
        <p:spPr>
          <a:xfrm>
            <a:off x="5523524" y="5327834"/>
            <a:ext cx="525101" cy="5641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400" b="1" dirty="0">
                <a:solidFill>
                  <a:schemeClr val="accent1"/>
                </a:solidFill>
              </a:rPr>
              <a:t>07</a:t>
            </a:r>
          </a:p>
        </p:txBody>
      </p:sp>
      <p:sp>
        <p:nvSpPr>
          <p:cNvPr id="38" name="Text Placeholder 15">
            <a:extLst>
              <a:ext uri="{FF2B5EF4-FFF2-40B4-BE49-F238E27FC236}">
                <a16:creationId xmlns:a16="http://schemas.microsoft.com/office/drawing/2014/main" id="{759342A0-3A81-4623-B115-9CA214C8FB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30107" y="5365933"/>
            <a:ext cx="5206497" cy="507708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0D307C31-D0E2-415F-B868-4D79BD92BDD7}"/>
              </a:ext>
            </a:extLst>
          </p:cNvPr>
          <p:cNvCxnSpPr>
            <a:cxnSpLocks/>
          </p:cNvCxnSpPr>
          <p:nvPr userDrawn="1"/>
        </p:nvCxnSpPr>
        <p:spPr>
          <a:xfrm>
            <a:off x="5632163" y="5965874"/>
            <a:ext cx="570443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41">
            <a:extLst>
              <a:ext uri="{FF2B5EF4-FFF2-40B4-BE49-F238E27FC236}">
                <a16:creationId xmlns:a16="http://schemas.microsoft.com/office/drawing/2014/main" id="{A8FE8996-43AC-4A5A-9C02-DA7BAADC72C9}"/>
              </a:ext>
            </a:extLst>
          </p:cNvPr>
          <p:cNvSpPr/>
          <p:nvPr userDrawn="1"/>
        </p:nvSpPr>
        <p:spPr>
          <a:xfrm>
            <a:off x="5523523" y="6023024"/>
            <a:ext cx="525101" cy="5641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400" b="1" dirty="0">
                <a:solidFill>
                  <a:schemeClr val="accent2"/>
                </a:solidFill>
              </a:rPr>
              <a:t>08</a:t>
            </a:r>
          </a:p>
        </p:txBody>
      </p:sp>
      <p:sp>
        <p:nvSpPr>
          <p:cNvPr id="43" name="Text Placeholder 15">
            <a:extLst>
              <a:ext uri="{FF2B5EF4-FFF2-40B4-BE49-F238E27FC236}">
                <a16:creationId xmlns:a16="http://schemas.microsoft.com/office/drawing/2014/main" id="{1108E5C2-F326-4A5F-AB82-4212FC1A325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30106" y="6061124"/>
            <a:ext cx="5206497" cy="507708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pic>
        <p:nvPicPr>
          <p:cNvPr id="122" name="Picture 121">
            <a:extLst>
              <a:ext uri="{FF2B5EF4-FFF2-40B4-BE49-F238E27FC236}">
                <a16:creationId xmlns:a16="http://schemas.microsoft.com/office/drawing/2014/main" id="{35F0C43E-1644-40B6-B219-70E74953E36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73087" y="3237764"/>
            <a:ext cx="477899" cy="477899"/>
          </a:xfrm>
          <a:prstGeom prst="rect">
            <a:avLst/>
          </a:prstGeom>
        </p:spPr>
      </p:pic>
      <p:pic>
        <p:nvPicPr>
          <p:cNvPr id="123" name="Picture 122">
            <a:extLst>
              <a:ext uri="{FF2B5EF4-FFF2-40B4-BE49-F238E27FC236}">
                <a16:creationId xmlns:a16="http://schemas.microsoft.com/office/drawing/2014/main" id="{35DFFECC-98C0-44F2-BFF9-F0747E50903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3087" y="1826700"/>
            <a:ext cx="457200" cy="457200"/>
          </a:xfrm>
          <a:prstGeom prst="rect">
            <a:avLst/>
          </a:prstGeom>
        </p:spPr>
      </p:pic>
      <p:pic>
        <p:nvPicPr>
          <p:cNvPr id="124" name="Picture 123">
            <a:extLst>
              <a:ext uri="{FF2B5EF4-FFF2-40B4-BE49-F238E27FC236}">
                <a16:creationId xmlns:a16="http://schemas.microsoft.com/office/drawing/2014/main" id="{3C57931F-5C3C-4024-A4F5-D3B7359AE0E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73087" y="1138303"/>
            <a:ext cx="456727" cy="456727"/>
          </a:xfrm>
          <a:prstGeom prst="rect">
            <a:avLst/>
          </a:prstGeom>
        </p:spPr>
      </p:pic>
      <p:pic>
        <p:nvPicPr>
          <p:cNvPr id="125" name="Picture 124">
            <a:extLst>
              <a:ext uri="{FF2B5EF4-FFF2-40B4-BE49-F238E27FC236}">
                <a16:creationId xmlns:a16="http://schemas.microsoft.com/office/drawing/2014/main" id="{8E7A1E7E-AD78-4173-88DB-9DC76AB4953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3786" y="3947333"/>
            <a:ext cx="457200" cy="457200"/>
          </a:xfrm>
          <a:prstGeom prst="rect">
            <a:avLst/>
          </a:prstGeom>
        </p:spPr>
      </p:pic>
      <p:pic>
        <p:nvPicPr>
          <p:cNvPr id="126" name="Picture 125">
            <a:extLst>
              <a:ext uri="{FF2B5EF4-FFF2-40B4-BE49-F238E27FC236}">
                <a16:creationId xmlns:a16="http://schemas.microsoft.com/office/drawing/2014/main" id="{DDB64BBE-FC98-449F-A984-DE57E5140C2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3087" y="2548894"/>
            <a:ext cx="457200" cy="457200"/>
          </a:xfrm>
          <a:prstGeom prst="rect">
            <a:avLst/>
          </a:prstGeom>
        </p:spPr>
      </p:pic>
      <p:pic>
        <p:nvPicPr>
          <p:cNvPr id="127" name="Picture 126">
            <a:extLst>
              <a:ext uri="{FF2B5EF4-FFF2-40B4-BE49-F238E27FC236}">
                <a16:creationId xmlns:a16="http://schemas.microsoft.com/office/drawing/2014/main" id="{FE7391CD-406A-45BB-BF9D-AFCE27EF0C1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353" y="4691726"/>
            <a:ext cx="456727" cy="456727"/>
          </a:xfrm>
          <a:prstGeom prst="rect">
            <a:avLst/>
          </a:prstGeom>
        </p:spPr>
      </p:pic>
      <p:pic>
        <p:nvPicPr>
          <p:cNvPr id="128" name="Picture 127">
            <a:extLst>
              <a:ext uri="{FF2B5EF4-FFF2-40B4-BE49-F238E27FC236}">
                <a16:creationId xmlns:a16="http://schemas.microsoft.com/office/drawing/2014/main" id="{33651265-2027-4F2F-9906-F6818C03884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9" y="6054803"/>
            <a:ext cx="456727" cy="456727"/>
          </a:xfrm>
          <a:prstGeom prst="rect">
            <a:avLst/>
          </a:prstGeom>
        </p:spPr>
      </p:pic>
      <p:pic>
        <p:nvPicPr>
          <p:cNvPr id="129" name="Picture 128">
            <a:extLst>
              <a:ext uri="{FF2B5EF4-FFF2-40B4-BE49-F238E27FC236}">
                <a16:creationId xmlns:a16="http://schemas.microsoft.com/office/drawing/2014/main" id="{2CD539DF-10F2-42C1-99A2-005A6DD19E6F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5718" y="5395409"/>
            <a:ext cx="331900" cy="443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80154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C14F0E1-1E6A-485A-8C76-CCAC88E7EEED}"/>
              </a:ext>
            </a:extLst>
          </p:cNvPr>
          <p:cNvSpPr/>
          <p:nvPr userDrawn="1"/>
        </p:nvSpPr>
        <p:spPr>
          <a:xfrm>
            <a:off x="1" y="5715000"/>
            <a:ext cx="6591300" cy="1143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59EBBAF8-4E8E-443A-829C-C8674F32C5DE}"/>
              </a:ext>
            </a:extLst>
          </p:cNvPr>
          <p:cNvSpPr/>
          <p:nvPr userDrawn="1"/>
        </p:nvSpPr>
        <p:spPr>
          <a:xfrm>
            <a:off x="3757614" y="1943101"/>
            <a:ext cx="1704975" cy="762001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23A5EE7-8121-4843-B259-0E0077EE4143}"/>
              </a:ext>
            </a:extLst>
          </p:cNvPr>
          <p:cNvSpPr/>
          <p:nvPr userDrawn="1"/>
        </p:nvSpPr>
        <p:spPr>
          <a:xfrm>
            <a:off x="3757614" y="2819401"/>
            <a:ext cx="1704975" cy="762001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A88DB64-85E7-4619-9416-F69121B69F56}"/>
              </a:ext>
            </a:extLst>
          </p:cNvPr>
          <p:cNvSpPr/>
          <p:nvPr userDrawn="1"/>
        </p:nvSpPr>
        <p:spPr>
          <a:xfrm>
            <a:off x="3757614" y="3695701"/>
            <a:ext cx="1704975" cy="762001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939FE0B-B439-4A33-8848-8D3A17AA58B0}"/>
              </a:ext>
            </a:extLst>
          </p:cNvPr>
          <p:cNvSpPr/>
          <p:nvPr userDrawn="1"/>
        </p:nvSpPr>
        <p:spPr>
          <a:xfrm>
            <a:off x="3757614" y="4572001"/>
            <a:ext cx="1704975" cy="762001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57A99CC9-E6A2-4DB0-83BD-635ECBA46198}"/>
              </a:ext>
            </a:extLst>
          </p:cNvPr>
          <p:cNvSpPr/>
          <p:nvPr userDrawn="1"/>
        </p:nvSpPr>
        <p:spPr>
          <a:xfrm>
            <a:off x="3757614" y="5448301"/>
            <a:ext cx="1704975" cy="762001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866E71-EEE4-424C-8D49-85C9B5B5A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62501" y="365127"/>
            <a:ext cx="6591300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genda</a:t>
            </a:r>
            <a:endParaRPr lang="en-IN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38E709D-C74D-4489-8654-048602E85F4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4610100" cy="6858000"/>
          </a:xfrm>
          <a:solidFill>
            <a:schemeClr val="bg1"/>
          </a:solidFill>
        </p:spPr>
        <p:txBody>
          <a:bodyPr/>
          <a:lstStyle/>
          <a:p>
            <a:endParaRPr lang="en-IN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0CBFE46-2F5C-4708-A58E-430586F6723A}"/>
              </a:ext>
            </a:extLst>
          </p:cNvPr>
          <p:cNvCxnSpPr/>
          <p:nvPr userDrawn="1"/>
        </p:nvCxnSpPr>
        <p:spPr>
          <a:xfrm>
            <a:off x="5649362" y="2762249"/>
            <a:ext cx="570443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7380889-7929-4675-AEBA-6253F15A550D}"/>
              </a:ext>
            </a:extLst>
          </p:cNvPr>
          <p:cNvCxnSpPr/>
          <p:nvPr userDrawn="1"/>
        </p:nvCxnSpPr>
        <p:spPr>
          <a:xfrm>
            <a:off x="5649362" y="3638549"/>
            <a:ext cx="570443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2DF99CC-6349-40D3-BECD-C0EA23F6D053}"/>
              </a:ext>
            </a:extLst>
          </p:cNvPr>
          <p:cNvCxnSpPr/>
          <p:nvPr userDrawn="1"/>
        </p:nvCxnSpPr>
        <p:spPr>
          <a:xfrm>
            <a:off x="5649362" y="4514849"/>
            <a:ext cx="570443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3DA6FDF-69ED-4FB7-8490-D2542867051E}"/>
              </a:ext>
            </a:extLst>
          </p:cNvPr>
          <p:cNvCxnSpPr/>
          <p:nvPr userDrawn="1"/>
        </p:nvCxnSpPr>
        <p:spPr>
          <a:xfrm>
            <a:off x="5649362" y="5391149"/>
            <a:ext cx="570443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9DB6E585-700D-46CF-8B7C-6AE9D033164C}"/>
              </a:ext>
            </a:extLst>
          </p:cNvPr>
          <p:cNvSpPr/>
          <p:nvPr userDrawn="1"/>
        </p:nvSpPr>
        <p:spPr>
          <a:xfrm>
            <a:off x="5540722" y="1943101"/>
            <a:ext cx="525101" cy="762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400" b="1" dirty="0">
                <a:solidFill>
                  <a:schemeClr val="tx2"/>
                </a:solidFill>
              </a:rPr>
              <a:t>01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0E65926-BCED-4190-8644-761ECA12C2C6}"/>
              </a:ext>
            </a:extLst>
          </p:cNvPr>
          <p:cNvSpPr/>
          <p:nvPr userDrawn="1"/>
        </p:nvSpPr>
        <p:spPr>
          <a:xfrm>
            <a:off x="5540722" y="2819400"/>
            <a:ext cx="525101" cy="762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400" b="1" dirty="0">
                <a:solidFill>
                  <a:schemeClr val="tx2"/>
                </a:solidFill>
              </a:rPr>
              <a:t>02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109DFB5-05AF-4096-8B7C-1FB1BD5DE8CC}"/>
              </a:ext>
            </a:extLst>
          </p:cNvPr>
          <p:cNvSpPr/>
          <p:nvPr userDrawn="1"/>
        </p:nvSpPr>
        <p:spPr>
          <a:xfrm>
            <a:off x="5540722" y="3695699"/>
            <a:ext cx="525101" cy="762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400" b="1" dirty="0">
                <a:solidFill>
                  <a:schemeClr val="tx2"/>
                </a:solidFill>
              </a:rPr>
              <a:t>03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9059245-726B-44C5-B562-CC9922BC8FF1}"/>
              </a:ext>
            </a:extLst>
          </p:cNvPr>
          <p:cNvSpPr/>
          <p:nvPr userDrawn="1"/>
        </p:nvSpPr>
        <p:spPr>
          <a:xfrm>
            <a:off x="5540722" y="4571998"/>
            <a:ext cx="525101" cy="762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400" b="1" dirty="0">
                <a:solidFill>
                  <a:schemeClr val="tx2"/>
                </a:solidFill>
              </a:rPr>
              <a:t>04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12FA2AF-BCB7-4433-B8E3-B8C62C8C313E}"/>
              </a:ext>
            </a:extLst>
          </p:cNvPr>
          <p:cNvSpPr/>
          <p:nvPr userDrawn="1"/>
        </p:nvSpPr>
        <p:spPr>
          <a:xfrm>
            <a:off x="5540722" y="5448301"/>
            <a:ext cx="525101" cy="762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400" b="1" dirty="0">
                <a:solidFill>
                  <a:schemeClr val="tx2"/>
                </a:solidFill>
              </a:rPr>
              <a:t>05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585E259-D8B1-4EDB-9EA8-4C615806F70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47305" y="1981199"/>
            <a:ext cx="5206497" cy="685800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B7F1107C-55CB-4259-81C3-5FDE4F9D14D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47305" y="2857499"/>
            <a:ext cx="5206497" cy="685800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28" name="Text Placeholder 15">
            <a:extLst>
              <a:ext uri="{FF2B5EF4-FFF2-40B4-BE49-F238E27FC236}">
                <a16:creationId xmlns:a16="http://schemas.microsoft.com/office/drawing/2014/main" id="{DA17263F-8D63-46D0-9F6E-E86BADED02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47305" y="3733799"/>
            <a:ext cx="5206497" cy="685800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71E291D9-ED3C-4ECF-AD1B-C32FAE1239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47305" y="4610099"/>
            <a:ext cx="5206497" cy="685800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A0CADF3A-8019-42FC-B181-1BF003FDCD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47305" y="5486399"/>
            <a:ext cx="5206497" cy="685800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355D82E-8F2B-4945-A513-93EF6C700398}"/>
              </a:ext>
            </a:extLst>
          </p:cNvPr>
          <p:cNvGrpSpPr/>
          <p:nvPr userDrawn="1"/>
        </p:nvGrpSpPr>
        <p:grpSpPr>
          <a:xfrm>
            <a:off x="4595336" y="0"/>
            <a:ext cx="54864" cy="6858000"/>
            <a:chOff x="-588209" y="943598"/>
            <a:chExt cx="45719" cy="4339600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F8AF539-F73B-456D-ADC4-97619F934163}"/>
                </a:ext>
              </a:extLst>
            </p:cNvPr>
            <p:cNvSpPr/>
            <p:nvPr userDrawn="1"/>
          </p:nvSpPr>
          <p:spPr>
            <a:xfrm>
              <a:off x="-588209" y="1756398"/>
              <a:ext cx="45719" cy="8407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/>
              <a:endParaRPr lang="en-IN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539ED11-AD4C-4AF4-9B5E-AB18824F9DC1}"/>
                </a:ext>
              </a:extLst>
            </p:cNvPr>
            <p:cNvSpPr/>
            <p:nvPr userDrawn="1"/>
          </p:nvSpPr>
          <p:spPr>
            <a:xfrm>
              <a:off x="-588209" y="2597138"/>
              <a:ext cx="45719" cy="8407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/>
              <a:endParaRPr lang="en-IN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5D6EAE53-2CEB-4EAE-A00B-CA84AA8EA0C8}"/>
                </a:ext>
              </a:extLst>
            </p:cNvPr>
            <p:cNvSpPr/>
            <p:nvPr userDrawn="1"/>
          </p:nvSpPr>
          <p:spPr>
            <a:xfrm>
              <a:off x="-588209" y="3437878"/>
              <a:ext cx="45719" cy="84074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/>
              <a:endParaRPr lang="en-IN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3811FD66-74B5-459F-8407-E02FD565B170}"/>
                </a:ext>
              </a:extLst>
            </p:cNvPr>
            <p:cNvSpPr/>
            <p:nvPr userDrawn="1"/>
          </p:nvSpPr>
          <p:spPr>
            <a:xfrm>
              <a:off x="-588209" y="4278617"/>
              <a:ext cx="45719" cy="100458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/>
              <a:endParaRPr lang="en-IN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A359856A-5759-43F3-B1D3-77E4A14866C4}"/>
                </a:ext>
              </a:extLst>
            </p:cNvPr>
            <p:cNvSpPr/>
            <p:nvPr userDrawn="1"/>
          </p:nvSpPr>
          <p:spPr>
            <a:xfrm>
              <a:off x="-588209" y="943598"/>
              <a:ext cx="45719" cy="8407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/>
              <a:endParaRPr lang="en-IN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46" name="Rectangle 45">
            <a:extLst>
              <a:ext uri="{FF2B5EF4-FFF2-40B4-BE49-F238E27FC236}">
                <a16:creationId xmlns:a16="http://schemas.microsoft.com/office/drawing/2014/main" id="{83F390EA-1B27-49DB-89C8-B5F4B81C492D}"/>
              </a:ext>
            </a:extLst>
          </p:cNvPr>
          <p:cNvSpPr/>
          <p:nvPr userDrawn="1"/>
        </p:nvSpPr>
        <p:spPr>
          <a:xfrm>
            <a:off x="11341100" y="1943101"/>
            <a:ext cx="54864" cy="7620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tx2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536B4F83-D88A-483E-8322-CAF62E1672B7}"/>
              </a:ext>
            </a:extLst>
          </p:cNvPr>
          <p:cNvSpPr/>
          <p:nvPr userDrawn="1"/>
        </p:nvSpPr>
        <p:spPr>
          <a:xfrm>
            <a:off x="11341100" y="2819401"/>
            <a:ext cx="54864" cy="7620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tx2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35271B34-7D66-4596-B331-6DC275E84BBB}"/>
              </a:ext>
            </a:extLst>
          </p:cNvPr>
          <p:cNvSpPr/>
          <p:nvPr userDrawn="1"/>
        </p:nvSpPr>
        <p:spPr>
          <a:xfrm>
            <a:off x="11341100" y="3695701"/>
            <a:ext cx="54864" cy="7620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tx2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12A3178-12A2-48FE-BF1A-F3E1FE1A6F74}"/>
              </a:ext>
            </a:extLst>
          </p:cNvPr>
          <p:cNvSpPr/>
          <p:nvPr userDrawn="1"/>
        </p:nvSpPr>
        <p:spPr>
          <a:xfrm>
            <a:off x="11341100" y="4572001"/>
            <a:ext cx="54864" cy="7620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tx2"/>
              </a:solidFill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DFDEB49E-911D-40E2-A38A-FB5905490AC3}"/>
              </a:ext>
            </a:extLst>
          </p:cNvPr>
          <p:cNvSpPr/>
          <p:nvPr userDrawn="1"/>
        </p:nvSpPr>
        <p:spPr>
          <a:xfrm>
            <a:off x="11341100" y="5448301"/>
            <a:ext cx="54864" cy="7620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574319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92198-5E08-49A5-999A-3A441B9AC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83196E-16A4-4C04-A414-459A5F5E2852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 descr="A person standing next to a window&#10;&#10;Description automatically generated">
            <a:extLst>
              <a:ext uri="{FF2B5EF4-FFF2-40B4-BE49-F238E27FC236}">
                <a16:creationId xmlns:a16="http://schemas.microsoft.com/office/drawing/2014/main" id="{62B3E9E1-3CFD-47FD-94B4-9AFEDE5877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2888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D1CC"/>
          </a:solidFill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F636B5ED-6580-4FE3-88C5-19FB88AA3006}"/>
              </a:ext>
            </a:extLst>
          </p:cNvPr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33000">
                <a:schemeClr val="bg1">
                  <a:alpha val="76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342C1FA-57E4-4F7A-BD39-F22A436D9C12}"/>
              </a:ext>
            </a:extLst>
          </p:cNvPr>
          <p:cNvSpPr/>
          <p:nvPr userDrawn="1"/>
        </p:nvSpPr>
        <p:spPr>
          <a:xfrm>
            <a:off x="322581" y="272289"/>
            <a:ext cx="6489700" cy="6313427"/>
          </a:xfrm>
          <a:prstGeom prst="rect">
            <a:avLst/>
          </a:prstGeom>
          <a:solidFill>
            <a:schemeClr val="tx2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DABBA0-02C3-4CAD-BBC8-C94A1547F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701" y="365127"/>
            <a:ext cx="6093460" cy="793115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BDD5554D-86AD-4CCF-B343-83520472393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661160" y="1722122"/>
            <a:ext cx="4953000" cy="793115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7823F462-8C13-4777-A63B-0D54D90D066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0701" y="1722122"/>
            <a:ext cx="744220" cy="793115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81C03F2-F965-4410-9DBB-DC71313CD75B}"/>
              </a:ext>
            </a:extLst>
          </p:cNvPr>
          <p:cNvCxnSpPr/>
          <p:nvPr userDrawn="1"/>
        </p:nvCxnSpPr>
        <p:spPr>
          <a:xfrm>
            <a:off x="1463040" y="1793681"/>
            <a:ext cx="0" cy="64999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16">
            <a:extLst>
              <a:ext uri="{FF2B5EF4-FFF2-40B4-BE49-F238E27FC236}">
                <a16:creationId xmlns:a16="http://schemas.microsoft.com/office/drawing/2014/main" id="{76F6688E-C326-402D-9D80-0152669EEE5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661160" y="2682401"/>
            <a:ext cx="4953000" cy="793115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Text Placeholder 16">
            <a:extLst>
              <a:ext uri="{FF2B5EF4-FFF2-40B4-BE49-F238E27FC236}">
                <a16:creationId xmlns:a16="http://schemas.microsoft.com/office/drawing/2014/main" id="{BEDA4EE5-EB7F-4FCF-8BF2-E4F010E79DE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0701" y="2682401"/>
            <a:ext cx="744220" cy="793115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70809D35-9B08-40BA-B06C-63AC620EC8AB}"/>
              </a:ext>
            </a:extLst>
          </p:cNvPr>
          <p:cNvCxnSpPr/>
          <p:nvPr userDrawn="1"/>
        </p:nvCxnSpPr>
        <p:spPr>
          <a:xfrm>
            <a:off x="1463040" y="2753960"/>
            <a:ext cx="0" cy="64999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6D6A225E-F941-46A1-952F-666ACBB8C14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661160" y="3642678"/>
            <a:ext cx="4953000" cy="793115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16">
            <a:extLst>
              <a:ext uri="{FF2B5EF4-FFF2-40B4-BE49-F238E27FC236}">
                <a16:creationId xmlns:a16="http://schemas.microsoft.com/office/drawing/2014/main" id="{F7504E07-E294-4675-AF6C-596199AFB40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20701" y="3642678"/>
            <a:ext cx="744220" cy="793115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53602AC8-AC3C-4B64-902D-0F28BA6B1952}"/>
              </a:ext>
            </a:extLst>
          </p:cNvPr>
          <p:cNvCxnSpPr/>
          <p:nvPr userDrawn="1"/>
        </p:nvCxnSpPr>
        <p:spPr>
          <a:xfrm>
            <a:off x="1463040" y="3714239"/>
            <a:ext cx="0" cy="64999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16">
            <a:extLst>
              <a:ext uri="{FF2B5EF4-FFF2-40B4-BE49-F238E27FC236}">
                <a16:creationId xmlns:a16="http://schemas.microsoft.com/office/drawing/2014/main" id="{D9AA3743-379D-4AE0-B6FA-A752F7F4C8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661160" y="4602959"/>
            <a:ext cx="4953000" cy="793115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16">
            <a:extLst>
              <a:ext uri="{FF2B5EF4-FFF2-40B4-BE49-F238E27FC236}">
                <a16:creationId xmlns:a16="http://schemas.microsoft.com/office/drawing/2014/main" id="{7F6EE7C4-97A7-4403-9F54-4DC9511F63B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0701" y="4602959"/>
            <a:ext cx="744220" cy="793115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92CCFA75-F87D-4EC8-9471-431A821BEA80}"/>
              </a:ext>
            </a:extLst>
          </p:cNvPr>
          <p:cNvCxnSpPr/>
          <p:nvPr userDrawn="1"/>
        </p:nvCxnSpPr>
        <p:spPr>
          <a:xfrm>
            <a:off x="1463040" y="4674518"/>
            <a:ext cx="0" cy="64999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 Placeholder 16">
            <a:extLst>
              <a:ext uri="{FF2B5EF4-FFF2-40B4-BE49-F238E27FC236}">
                <a16:creationId xmlns:a16="http://schemas.microsoft.com/office/drawing/2014/main" id="{59E292AF-5D45-4972-8CE1-7A0E723DECF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661160" y="5563237"/>
            <a:ext cx="4953000" cy="793115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16">
            <a:extLst>
              <a:ext uri="{FF2B5EF4-FFF2-40B4-BE49-F238E27FC236}">
                <a16:creationId xmlns:a16="http://schemas.microsoft.com/office/drawing/2014/main" id="{AEE0CF3E-9445-448D-B3AA-BC211F38D0A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20701" y="5563237"/>
            <a:ext cx="744220" cy="793115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6AC8BAC2-4CC0-4410-8770-7967D88C41AB}"/>
              </a:ext>
            </a:extLst>
          </p:cNvPr>
          <p:cNvCxnSpPr/>
          <p:nvPr userDrawn="1"/>
        </p:nvCxnSpPr>
        <p:spPr>
          <a:xfrm>
            <a:off x="1463040" y="5634796"/>
            <a:ext cx="0" cy="64999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2" name="Group 41">
            <a:extLst>
              <a:ext uri="{FF2B5EF4-FFF2-40B4-BE49-F238E27FC236}">
                <a16:creationId xmlns:a16="http://schemas.microsoft.com/office/drawing/2014/main" id="{6F971B9B-BE5C-4C87-8ADB-BCEDA4F0A771}"/>
              </a:ext>
            </a:extLst>
          </p:cNvPr>
          <p:cNvGrpSpPr/>
          <p:nvPr userDrawn="1"/>
        </p:nvGrpSpPr>
        <p:grpSpPr>
          <a:xfrm>
            <a:off x="0" y="0"/>
            <a:ext cx="1828800" cy="73152"/>
            <a:chOff x="85490" y="5421819"/>
            <a:chExt cx="9411633" cy="295508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F81F7E54-1329-4D27-B928-1E8A5F1C0725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20FC3D59-C3B5-4C0A-AB10-14F571ADA78A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C4878749-CA49-48D7-ABB8-A32BDC4A51F1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324345108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9D31AE97-88F7-4A2F-B2F1-D0428D8D59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8250725" y="0"/>
            <a:ext cx="3715473" cy="6858000"/>
          </a:xfrm>
          <a:custGeom>
            <a:avLst/>
            <a:gdLst>
              <a:gd name="connsiteX0" fmla="*/ 0 w 3715473"/>
              <a:gd name="connsiteY0" fmla="*/ 0 h 6858000"/>
              <a:gd name="connsiteX1" fmla="*/ 3715473 w 3715473"/>
              <a:gd name="connsiteY1" fmla="*/ 0 h 6858000"/>
              <a:gd name="connsiteX2" fmla="*/ 3715473 w 3715473"/>
              <a:gd name="connsiteY2" fmla="*/ 6858000 h 6858000"/>
              <a:gd name="connsiteX3" fmla="*/ 0 w 371547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15473" h="6858000">
                <a:moveTo>
                  <a:pt x="0" y="0"/>
                </a:moveTo>
                <a:lnTo>
                  <a:pt x="3715473" y="0"/>
                </a:lnTo>
                <a:lnTo>
                  <a:pt x="3715473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784A70D-5CB5-4EA2-9003-33C4F5254E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701" y="365127"/>
            <a:ext cx="7431108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genda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708A7EC-9406-453E-B404-477E40E7A11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83196E-16A4-4C04-A414-459A5F5E2852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CB8371F-F042-4A82-A7CB-C62CA2A5034B}"/>
              </a:ext>
            </a:extLst>
          </p:cNvPr>
          <p:cNvGrpSpPr/>
          <p:nvPr userDrawn="1"/>
        </p:nvGrpSpPr>
        <p:grpSpPr>
          <a:xfrm>
            <a:off x="347730" y="1879438"/>
            <a:ext cx="917191" cy="793115"/>
            <a:chOff x="520700" y="2152891"/>
            <a:chExt cx="919480" cy="91440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16139E2-738B-46F6-B13A-1851A084F546}"/>
                </a:ext>
              </a:extLst>
            </p:cNvPr>
            <p:cNvSpPr/>
            <p:nvPr userDrawn="1"/>
          </p:nvSpPr>
          <p:spPr>
            <a:xfrm>
              <a:off x="520700" y="2152891"/>
              <a:ext cx="214630" cy="914400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  <p:sp>
          <p:nvSpPr>
            <p:cNvPr id="17" name="Rectangle 15">
              <a:extLst>
                <a:ext uri="{FF2B5EF4-FFF2-40B4-BE49-F238E27FC236}">
                  <a16:creationId xmlns:a16="http://schemas.microsoft.com/office/drawing/2014/main" id="{54BF634C-0769-4E80-9FDB-508E040D56CB}"/>
                </a:ext>
              </a:extLst>
            </p:cNvPr>
            <p:cNvSpPr/>
            <p:nvPr userDrawn="1"/>
          </p:nvSpPr>
          <p:spPr>
            <a:xfrm flipH="1">
              <a:off x="1225550" y="2152891"/>
              <a:ext cx="214630" cy="914400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</p:grp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080131B9-0844-4F00-A41B-1E78FEBDFA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391920" y="1879438"/>
            <a:ext cx="6559888" cy="793115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4C5F20EE-DC2A-440D-8B72-9865496C12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7725" y="1936587"/>
            <a:ext cx="782586" cy="678814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tx2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3AD43C7-3C1F-4BD2-9F70-1EFFD7379064}"/>
              </a:ext>
            </a:extLst>
          </p:cNvPr>
          <p:cNvGrpSpPr/>
          <p:nvPr userDrawn="1"/>
        </p:nvGrpSpPr>
        <p:grpSpPr>
          <a:xfrm>
            <a:off x="347730" y="2861302"/>
            <a:ext cx="917191" cy="793115"/>
            <a:chOff x="520700" y="2152891"/>
            <a:chExt cx="919480" cy="914400"/>
          </a:xfrm>
        </p:grpSpPr>
        <p:sp>
          <p:nvSpPr>
            <p:cNvPr id="22" name="Rectangle 15">
              <a:extLst>
                <a:ext uri="{FF2B5EF4-FFF2-40B4-BE49-F238E27FC236}">
                  <a16:creationId xmlns:a16="http://schemas.microsoft.com/office/drawing/2014/main" id="{68327E3D-06FF-4D07-890A-086FB05E3999}"/>
                </a:ext>
              </a:extLst>
            </p:cNvPr>
            <p:cNvSpPr/>
            <p:nvPr userDrawn="1"/>
          </p:nvSpPr>
          <p:spPr>
            <a:xfrm>
              <a:off x="520700" y="2152891"/>
              <a:ext cx="214630" cy="914400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  <p:sp>
          <p:nvSpPr>
            <p:cNvPr id="23" name="Rectangle 15">
              <a:extLst>
                <a:ext uri="{FF2B5EF4-FFF2-40B4-BE49-F238E27FC236}">
                  <a16:creationId xmlns:a16="http://schemas.microsoft.com/office/drawing/2014/main" id="{1C07A5C6-F155-4EAB-B9EA-CB420C04EEBA}"/>
                </a:ext>
              </a:extLst>
            </p:cNvPr>
            <p:cNvSpPr/>
            <p:nvPr userDrawn="1"/>
          </p:nvSpPr>
          <p:spPr>
            <a:xfrm flipH="1">
              <a:off x="1225550" y="2152891"/>
              <a:ext cx="214630" cy="914400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B1DC8A98-ADA8-4C2F-9C01-BD8B50D0A7B4}"/>
              </a:ext>
            </a:extLst>
          </p:cNvPr>
          <p:cNvGrpSpPr/>
          <p:nvPr userDrawn="1"/>
        </p:nvGrpSpPr>
        <p:grpSpPr>
          <a:xfrm>
            <a:off x="347730" y="3822801"/>
            <a:ext cx="917191" cy="793115"/>
            <a:chOff x="520700" y="2152891"/>
            <a:chExt cx="919480" cy="914400"/>
          </a:xfrm>
        </p:grpSpPr>
        <p:sp>
          <p:nvSpPr>
            <p:cNvPr id="25" name="Rectangle 15">
              <a:extLst>
                <a:ext uri="{FF2B5EF4-FFF2-40B4-BE49-F238E27FC236}">
                  <a16:creationId xmlns:a16="http://schemas.microsoft.com/office/drawing/2014/main" id="{AD61FB68-4DA5-4D0A-BEE4-5963F349EF83}"/>
                </a:ext>
              </a:extLst>
            </p:cNvPr>
            <p:cNvSpPr/>
            <p:nvPr userDrawn="1"/>
          </p:nvSpPr>
          <p:spPr>
            <a:xfrm>
              <a:off x="520700" y="2152891"/>
              <a:ext cx="214630" cy="914400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  <p:sp>
          <p:nvSpPr>
            <p:cNvPr id="26" name="Rectangle 15">
              <a:extLst>
                <a:ext uri="{FF2B5EF4-FFF2-40B4-BE49-F238E27FC236}">
                  <a16:creationId xmlns:a16="http://schemas.microsoft.com/office/drawing/2014/main" id="{E58E4402-A6B6-4126-928F-4DD9AC8D3FAF}"/>
                </a:ext>
              </a:extLst>
            </p:cNvPr>
            <p:cNvSpPr/>
            <p:nvPr userDrawn="1"/>
          </p:nvSpPr>
          <p:spPr>
            <a:xfrm flipH="1">
              <a:off x="1225550" y="2152891"/>
              <a:ext cx="214630" cy="914400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8C77C39-E854-4F2D-ADCD-4FAE77BBB362}"/>
              </a:ext>
            </a:extLst>
          </p:cNvPr>
          <p:cNvGrpSpPr/>
          <p:nvPr userDrawn="1"/>
        </p:nvGrpSpPr>
        <p:grpSpPr>
          <a:xfrm>
            <a:off x="347730" y="4784300"/>
            <a:ext cx="917191" cy="793115"/>
            <a:chOff x="520700" y="2152891"/>
            <a:chExt cx="919480" cy="914400"/>
          </a:xfrm>
        </p:grpSpPr>
        <p:sp>
          <p:nvSpPr>
            <p:cNvPr id="28" name="Rectangle 15">
              <a:extLst>
                <a:ext uri="{FF2B5EF4-FFF2-40B4-BE49-F238E27FC236}">
                  <a16:creationId xmlns:a16="http://schemas.microsoft.com/office/drawing/2014/main" id="{561987EB-90A3-4094-A404-6CB3A9B02F18}"/>
                </a:ext>
              </a:extLst>
            </p:cNvPr>
            <p:cNvSpPr/>
            <p:nvPr userDrawn="1"/>
          </p:nvSpPr>
          <p:spPr>
            <a:xfrm>
              <a:off x="520700" y="2152891"/>
              <a:ext cx="214630" cy="914400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  <p:sp>
          <p:nvSpPr>
            <p:cNvPr id="29" name="Rectangle 15">
              <a:extLst>
                <a:ext uri="{FF2B5EF4-FFF2-40B4-BE49-F238E27FC236}">
                  <a16:creationId xmlns:a16="http://schemas.microsoft.com/office/drawing/2014/main" id="{065B89EC-1459-419C-977E-3DA3CE030C3B}"/>
                </a:ext>
              </a:extLst>
            </p:cNvPr>
            <p:cNvSpPr/>
            <p:nvPr userDrawn="1"/>
          </p:nvSpPr>
          <p:spPr>
            <a:xfrm flipH="1">
              <a:off x="1225550" y="2152891"/>
              <a:ext cx="214630" cy="914400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FCE6AB0A-CA06-46ED-B64F-E403674C7913}"/>
              </a:ext>
            </a:extLst>
          </p:cNvPr>
          <p:cNvGrpSpPr/>
          <p:nvPr userDrawn="1"/>
        </p:nvGrpSpPr>
        <p:grpSpPr>
          <a:xfrm>
            <a:off x="347730" y="5745799"/>
            <a:ext cx="917191" cy="793115"/>
            <a:chOff x="520700" y="2152891"/>
            <a:chExt cx="919480" cy="914400"/>
          </a:xfrm>
        </p:grpSpPr>
        <p:sp>
          <p:nvSpPr>
            <p:cNvPr id="31" name="Rectangle 15">
              <a:extLst>
                <a:ext uri="{FF2B5EF4-FFF2-40B4-BE49-F238E27FC236}">
                  <a16:creationId xmlns:a16="http://schemas.microsoft.com/office/drawing/2014/main" id="{DBDBD5D0-4B26-4184-9E97-9B55F4246F05}"/>
                </a:ext>
              </a:extLst>
            </p:cNvPr>
            <p:cNvSpPr/>
            <p:nvPr userDrawn="1"/>
          </p:nvSpPr>
          <p:spPr>
            <a:xfrm>
              <a:off x="520700" y="2152891"/>
              <a:ext cx="214630" cy="914400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  <p:sp>
          <p:nvSpPr>
            <p:cNvPr id="32" name="Rectangle 15">
              <a:extLst>
                <a:ext uri="{FF2B5EF4-FFF2-40B4-BE49-F238E27FC236}">
                  <a16:creationId xmlns:a16="http://schemas.microsoft.com/office/drawing/2014/main" id="{BFA2288F-93AF-46E1-A79A-7ED7AA9CF20A}"/>
                </a:ext>
              </a:extLst>
            </p:cNvPr>
            <p:cNvSpPr/>
            <p:nvPr userDrawn="1"/>
          </p:nvSpPr>
          <p:spPr>
            <a:xfrm flipH="1">
              <a:off x="1225550" y="2152891"/>
              <a:ext cx="214630" cy="914400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</p:grp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37AA991B-8B5C-4C9B-9A1B-A503AF32D0C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391920" y="2861302"/>
            <a:ext cx="6559888" cy="793115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16">
            <a:extLst>
              <a:ext uri="{FF2B5EF4-FFF2-40B4-BE49-F238E27FC236}">
                <a16:creationId xmlns:a16="http://schemas.microsoft.com/office/drawing/2014/main" id="{EE80A6A2-06A2-41B8-BE39-97032340635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7725" y="2918450"/>
            <a:ext cx="782586" cy="678814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tx2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35" name="Text Placeholder 16">
            <a:extLst>
              <a:ext uri="{FF2B5EF4-FFF2-40B4-BE49-F238E27FC236}">
                <a16:creationId xmlns:a16="http://schemas.microsoft.com/office/drawing/2014/main" id="{A5871AA4-CBD8-483C-BAC2-CC0CF238AE4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391920" y="3822801"/>
            <a:ext cx="6559888" cy="793115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6" name="Text Placeholder 16">
            <a:extLst>
              <a:ext uri="{FF2B5EF4-FFF2-40B4-BE49-F238E27FC236}">
                <a16:creationId xmlns:a16="http://schemas.microsoft.com/office/drawing/2014/main" id="{542B705B-93A4-45D9-901F-EF90E837A7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7725" y="3879949"/>
            <a:ext cx="782586" cy="678814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tx2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37" name="Text Placeholder 16">
            <a:extLst>
              <a:ext uri="{FF2B5EF4-FFF2-40B4-BE49-F238E27FC236}">
                <a16:creationId xmlns:a16="http://schemas.microsoft.com/office/drawing/2014/main" id="{4B83E4D6-A21B-4AC6-BD72-C905E3E93BC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391920" y="4784300"/>
            <a:ext cx="6559888" cy="793115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16">
            <a:extLst>
              <a:ext uri="{FF2B5EF4-FFF2-40B4-BE49-F238E27FC236}">
                <a16:creationId xmlns:a16="http://schemas.microsoft.com/office/drawing/2014/main" id="{ACDEEF47-FC5A-41D6-BDAA-DCF4BF1FF9B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7725" y="4841448"/>
            <a:ext cx="782586" cy="678814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tx2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39" name="Text Placeholder 16">
            <a:extLst>
              <a:ext uri="{FF2B5EF4-FFF2-40B4-BE49-F238E27FC236}">
                <a16:creationId xmlns:a16="http://schemas.microsoft.com/office/drawing/2014/main" id="{2E17CEA9-16D8-4348-AD88-AEE4AC9E33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391920" y="5745799"/>
            <a:ext cx="6559888" cy="793115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16">
            <a:extLst>
              <a:ext uri="{FF2B5EF4-FFF2-40B4-BE49-F238E27FC236}">
                <a16:creationId xmlns:a16="http://schemas.microsoft.com/office/drawing/2014/main" id="{47E9BCE8-921B-4952-9B03-4D9DD9BFB28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27725" y="5802947"/>
            <a:ext cx="782586" cy="678814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tx2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2EE12A63-23A1-412D-8383-E69991F348FD}"/>
              </a:ext>
            </a:extLst>
          </p:cNvPr>
          <p:cNvCxnSpPr>
            <a:cxnSpLocks/>
          </p:cNvCxnSpPr>
          <p:nvPr userDrawn="1"/>
        </p:nvCxnSpPr>
        <p:spPr>
          <a:xfrm>
            <a:off x="1391920" y="2766926"/>
            <a:ext cx="655988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EEE7A256-AB4B-466E-8E0B-C5BAEE9AE086}"/>
              </a:ext>
            </a:extLst>
          </p:cNvPr>
          <p:cNvCxnSpPr>
            <a:cxnSpLocks/>
          </p:cNvCxnSpPr>
          <p:nvPr userDrawn="1"/>
        </p:nvCxnSpPr>
        <p:spPr>
          <a:xfrm>
            <a:off x="1391920" y="3738607"/>
            <a:ext cx="655988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F795CB70-04BB-4063-AE67-0811CC8DAE2A}"/>
              </a:ext>
            </a:extLst>
          </p:cNvPr>
          <p:cNvCxnSpPr>
            <a:cxnSpLocks/>
          </p:cNvCxnSpPr>
          <p:nvPr userDrawn="1"/>
        </p:nvCxnSpPr>
        <p:spPr>
          <a:xfrm>
            <a:off x="1391920" y="4700106"/>
            <a:ext cx="655988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207CC071-9956-4EE0-A3BC-1B2AEDA5F717}"/>
              </a:ext>
            </a:extLst>
          </p:cNvPr>
          <p:cNvCxnSpPr>
            <a:cxnSpLocks/>
          </p:cNvCxnSpPr>
          <p:nvPr userDrawn="1"/>
        </p:nvCxnSpPr>
        <p:spPr>
          <a:xfrm>
            <a:off x="1391920" y="5661605"/>
            <a:ext cx="655988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7" name="Group 46">
            <a:extLst>
              <a:ext uri="{FF2B5EF4-FFF2-40B4-BE49-F238E27FC236}">
                <a16:creationId xmlns:a16="http://schemas.microsoft.com/office/drawing/2014/main" id="{4B01843B-9D53-4AD9-A0DF-38450CE6AA9C}"/>
              </a:ext>
            </a:extLst>
          </p:cNvPr>
          <p:cNvGrpSpPr/>
          <p:nvPr userDrawn="1"/>
        </p:nvGrpSpPr>
        <p:grpSpPr>
          <a:xfrm>
            <a:off x="0" y="0"/>
            <a:ext cx="1828800" cy="73152"/>
            <a:chOff x="85490" y="5421819"/>
            <a:chExt cx="9411633" cy="295508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178B09D6-6A06-4B59-9612-F15815AE1226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B4713DC9-22C1-484C-87D1-444A34BF4B5D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725FD187-5EC7-469E-BDFA-8AAAA9C25065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25529585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04FC7C7-2B27-49C4-B9D4-53BFD986A9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04FC7C7-2B27-49C4-B9D4-53BFD986A9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42156EE-4523-4C3B-A50D-CB3AA751463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4400" b="0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3945D23F-5AEA-4104-AD8F-90111D33C1C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64871" y="1808157"/>
            <a:ext cx="10602411" cy="64008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400"/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24">
            <a:extLst>
              <a:ext uri="{FF2B5EF4-FFF2-40B4-BE49-F238E27FC236}">
                <a16:creationId xmlns:a16="http://schemas.microsoft.com/office/drawing/2014/main" id="{C77830EA-2A10-43E0-8C9F-4855ADC320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64871" y="2561205"/>
            <a:ext cx="10602411" cy="64008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400"/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4">
            <a:extLst>
              <a:ext uri="{FF2B5EF4-FFF2-40B4-BE49-F238E27FC236}">
                <a16:creationId xmlns:a16="http://schemas.microsoft.com/office/drawing/2014/main" id="{972542DB-6E56-4C5C-9A75-678B92B4AD0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64871" y="3314253"/>
            <a:ext cx="10602411" cy="64008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400"/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4">
            <a:extLst>
              <a:ext uri="{FF2B5EF4-FFF2-40B4-BE49-F238E27FC236}">
                <a16:creationId xmlns:a16="http://schemas.microsoft.com/office/drawing/2014/main" id="{E39981B4-D1AB-4DFD-B707-9480B4F3250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64871" y="4067301"/>
            <a:ext cx="10602411" cy="64008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400"/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Text Placeholder 24">
            <a:extLst>
              <a:ext uri="{FF2B5EF4-FFF2-40B4-BE49-F238E27FC236}">
                <a16:creationId xmlns:a16="http://schemas.microsoft.com/office/drawing/2014/main" id="{3FC3D124-D8B3-4561-81F2-20402E0A2A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64871" y="4820349"/>
            <a:ext cx="10602411" cy="64008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400"/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Text Placeholder 24">
            <a:extLst>
              <a:ext uri="{FF2B5EF4-FFF2-40B4-BE49-F238E27FC236}">
                <a16:creationId xmlns:a16="http://schemas.microsoft.com/office/drawing/2014/main" id="{6ABCEFA1-7B7A-463D-A951-0AF0647E45E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64871" y="5573395"/>
            <a:ext cx="10602411" cy="64008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400"/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2651F20-EB02-42BF-9F1C-9B79448D25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4222CA68-92F1-44A0-AF91-7F957541A940}"/>
              </a:ext>
            </a:extLst>
          </p:cNvPr>
          <p:cNvSpPr/>
          <p:nvPr userDrawn="1"/>
        </p:nvSpPr>
        <p:spPr>
          <a:xfrm>
            <a:off x="-1" y="1808158"/>
            <a:ext cx="590309" cy="3973211"/>
          </a:xfrm>
          <a:custGeom>
            <a:avLst/>
            <a:gdLst>
              <a:gd name="connsiteX0" fmla="*/ 0 w 590309"/>
              <a:gd name="connsiteY0" fmla="*/ 0 h 4405318"/>
              <a:gd name="connsiteX1" fmla="*/ 590309 w 590309"/>
              <a:gd name="connsiteY1" fmla="*/ 0 h 4405318"/>
              <a:gd name="connsiteX2" fmla="*/ 590309 w 590309"/>
              <a:gd name="connsiteY2" fmla="*/ 4405318 h 4405318"/>
              <a:gd name="connsiteX3" fmla="*/ 0 w 590309"/>
              <a:gd name="connsiteY3" fmla="*/ 4405318 h 4405318"/>
              <a:gd name="connsiteX4" fmla="*/ 0 w 590309"/>
              <a:gd name="connsiteY4" fmla="*/ 0 h 4405318"/>
              <a:gd name="connsiteX0" fmla="*/ 0 w 590309"/>
              <a:gd name="connsiteY0" fmla="*/ 4405318 h 4496758"/>
              <a:gd name="connsiteX1" fmla="*/ 0 w 590309"/>
              <a:gd name="connsiteY1" fmla="*/ 0 h 4496758"/>
              <a:gd name="connsiteX2" fmla="*/ 590309 w 590309"/>
              <a:gd name="connsiteY2" fmla="*/ 0 h 4496758"/>
              <a:gd name="connsiteX3" fmla="*/ 590309 w 590309"/>
              <a:gd name="connsiteY3" fmla="*/ 4405318 h 4496758"/>
              <a:gd name="connsiteX4" fmla="*/ 91440 w 590309"/>
              <a:gd name="connsiteY4" fmla="*/ 4496758 h 4496758"/>
              <a:gd name="connsiteX0" fmla="*/ 0 w 590309"/>
              <a:gd name="connsiteY0" fmla="*/ 4405318 h 4405318"/>
              <a:gd name="connsiteX1" fmla="*/ 0 w 590309"/>
              <a:gd name="connsiteY1" fmla="*/ 0 h 4405318"/>
              <a:gd name="connsiteX2" fmla="*/ 590309 w 590309"/>
              <a:gd name="connsiteY2" fmla="*/ 0 h 4405318"/>
              <a:gd name="connsiteX3" fmla="*/ 590309 w 590309"/>
              <a:gd name="connsiteY3" fmla="*/ 4405318 h 4405318"/>
              <a:gd name="connsiteX0" fmla="*/ 0 w 590309"/>
              <a:gd name="connsiteY0" fmla="*/ 0 h 4405318"/>
              <a:gd name="connsiteX1" fmla="*/ 590309 w 590309"/>
              <a:gd name="connsiteY1" fmla="*/ 0 h 4405318"/>
              <a:gd name="connsiteX2" fmla="*/ 590309 w 590309"/>
              <a:gd name="connsiteY2" fmla="*/ 4405318 h 4405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90309" h="4405318">
                <a:moveTo>
                  <a:pt x="0" y="0"/>
                </a:moveTo>
                <a:lnTo>
                  <a:pt x="590309" y="0"/>
                </a:lnTo>
                <a:lnTo>
                  <a:pt x="590309" y="4405318"/>
                </a:lnTo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158FB678-FA3C-4BF9-B26C-BB624E436EA0}"/>
              </a:ext>
            </a:extLst>
          </p:cNvPr>
          <p:cNvSpPr/>
          <p:nvPr userDrawn="1"/>
        </p:nvSpPr>
        <p:spPr>
          <a:xfrm>
            <a:off x="356644" y="1894533"/>
            <a:ext cx="467328" cy="467328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4BF21676-CA2D-4A8E-96DD-A028CB78684C}"/>
              </a:ext>
            </a:extLst>
          </p:cNvPr>
          <p:cNvSpPr/>
          <p:nvPr userDrawn="1"/>
        </p:nvSpPr>
        <p:spPr>
          <a:xfrm>
            <a:off x="356644" y="2647581"/>
            <a:ext cx="467328" cy="467328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796CC7BC-726E-4AE0-9B49-AD4D5E0A7EAD}"/>
              </a:ext>
            </a:extLst>
          </p:cNvPr>
          <p:cNvSpPr/>
          <p:nvPr userDrawn="1"/>
        </p:nvSpPr>
        <p:spPr>
          <a:xfrm>
            <a:off x="356644" y="3400629"/>
            <a:ext cx="467328" cy="467328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969EDADD-1936-4FE1-92C7-0E9CD0030C5A}"/>
              </a:ext>
            </a:extLst>
          </p:cNvPr>
          <p:cNvSpPr/>
          <p:nvPr userDrawn="1"/>
        </p:nvSpPr>
        <p:spPr>
          <a:xfrm>
            <a:off x="356644" y="4153677"/>
            <a:ext cx="467328" cy="467328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9526D1E5-AC29-4A68-91CE-8EBFD9DE7972}"/>
              </a:ext>
            </a:extLst>
          </p:cNvPr>
          <p:cNvSpPr/>
          <p:nvPr userDrawn="1"/>
        </p:nvSpPr>
        <p:spPr>
          <a:xfrm>
            <a:off x="356644" y="4906725"/>
            <a:ext cx="467328" cy="467328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590C2149-6AC4-4B4E-B080-A588BC6FBCD4}"/>
              </a:ext>
            </a:extLst>
          </p:cNvPr>
          <p:cNvSpPr/>
          <p:nvPr userDrawn="1"/>
        </p:nvSpPr>
        <p:spPr>
          <a:xfrm>
            <a:off x="356644" y="5659771"/>
            <a:ext cx="467328" cy="467328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50" name="Text Placeholder 49">
            <a:extLst>
              <a:ext uri="{FF2B5EF4-FFF2-40B4-BE49-F238E27FC236}">
                <a16:creationId xmlns:a16="http://schemas.microsoft.com/office/drawing/2014/main" id="{5712D937-07F6-48A2-9DF1-3237524119C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6646" y="1974310"/>
            <a:ext cx="467327" cy="307777"/>
          </a:xfrm>
        </p:spPr>
        <p:txBody>
          <a:bodyPr wrap="square" rIns="0" anchor="ctr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01</a:t>
            </a:r>
            <a:endParaRPr lang="en-GB" dirty="0"/>
          </a:p>
        </p:txBody>
      </p:sp>
      <p:sp>
        <p:nvSpPr>
          <p:cNvPr id="51" name="Text Placeholder 49">
            <a:extLst>
              <a:ext uri="{FF2B5EF4-FFF2-40B4-BE49-F238E27FC236}">
                <a16:creationId xmlns:a16="http://schemas.microsoft.com/office/drawing/2014/main" id="{6CBF1384-CED0-4A88-B6DB-6C8DBFAD6BB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6646" y="2727358"/>
            <a:ext cx="467327" cy="307777"/>
          </a:xfrm>
        </p:spPr>
        <p:txBody>
          <a:bodyPr wrap="square" rIns="0" anchor="ctr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02</a:t>
            </a:r>
            <a:endParaRPr lang="en-GB" dirty="0"/>
          </a:p>
        </p:txBody>
      </p:sp>
      <p:sp>
        <p:nvSpPr>
          <p:cNvPr id="52" name="Text Placeholder 49">
            <a:extLst>
              <a:ext uri="{FF2B5EF4-FFF2-40B4-BE49-F238E27FC236}">
                <a16:creationId xmlns:a16="http://schemas.microsoft.com/office/drawing/2014/main" id="{98020C6E-264F-4B60-AA0E-40F27B355D4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6646" y="3480405"/>
            <a:ext cx="467327" cy="307777"/>
          </a:xfrm>
        </p:spPr>
        <p:txBody>
          <a:bodyPr wrap="square" rIns="0" anchor="ctr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03</a:t>
            </a:r>
            <a:endParaRPr lang="en-GB" dirty="0"/>
          </a:p>
        </p:txBody>
      </p:sp>
      <p:sp>
        <p:nvSpPr>
          <p:cNvPr id="53" name="Text Placeholder 49">
            <a:extLst>
              <a:ext uri="{FF2B5EF4-FFF2-40B4-BE49-F238E27FC236}">
                <a16:creationId xmlns:a16="http://schemas.microsoft.com/office/drawing/2014/main" id="{CDD3C02D-4083-4523-8FEA-D83EBD48F66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6646" y="4233454"/>
            <a:ext cx="467327" cy="307777"/>
          </a:xfrm>
        </p:spPr>
        <p:txBody>
          <a:bodyPr wrap="square" rIns="0" anchor="ctr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04</a:t>
            </a:r>
            <a:endParaRPr lang="en-GB" dirty="0"/>
          </a:p>
        </p:txBody>
      </p:sp>
      <p:sp>
        <p:nvSpPr>
          <p:cNvPr id="54" name="Text Placeholder 49">
            <a:extLst>
              <a:ext uri="{FF2B5EF4-FFF2-40B4-BE49-F238E27FC236}">
                <a16:creationId xmlns:a16="http://schemas.microsoft.com/office/drawing/2014/main" id="{72CB7338-9803-4DC0-8EE8-ADB7A97E0EA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6646" y="4986502"/>
            <a:ext cx="467327" cy="307777"/>
          </a:xfrm>
        </p:spPr>
        <p:txBody>
          <a:bodyPr wrap="square" rIns="0" anchor="ctr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05</a:t>
            </a:r>
            <a:endParaRPr lang="en-GB" dirty="0"/>
          </a:p>
        </p:txBody>
      </p:sp>
      <p:sp>
        <p:nvSpPr>
          <p:cNvPr id="55" name="Text Placeholder 49">
            <a:extLst>
              <a:ext uri="{FF2B5EF4-FFF2-40B4-BE49-F238E27FC236}">
                <a16:creationId xmlns:a16="http://schemas.microsoft.com/office/drawing/2014/main" id="{182E3CED-8E3C-48BF-88FE-C47465804E2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6646" y="5739548"/>
            <a:ext cx="467327" cy="307777"/>
          </a:xfrm>
        </p:spPr>
        <p:txBody>
          <a:bodyPr wrap="square" rIns="0" anchor="ctr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0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849038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a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F3A1AD-6001-4758-818B-119EFFC395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440" y="355295"/>
            <a:ext cx="1124712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005FDD1-13EB-4758-8014-23ABC93953F0}"/>
              </a:ext>
            </a:extLst>
          </p:cNvPr>
          <p:cNvSpPr/>
          <p:nvPr userDrawn="1"/>
        </p:nvSpPr>
        <p:spPr>
          <a:xfrm>
            <a:off x="3103880" y="1849121"/>
            <a:ext cx="2926080" cy="436435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62FE698-52A0-4CCD-A92F-08EBCDE250EE}"/>
              </a:ext>
            </a:extLst>
          </p:cNvPr>
          <p:cNvSpPr/>
          <p:nvPr userDrawn="1"/>
        </p:nvSpPr>
        <p:spPr>
          <a:xfrm>
            <a:off x="6162040" y="1849121"/>
            <a:ext cx="2926080" cy="436435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0A2304B-9AEB-4E06-9DD8-199413308BD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42360" y="2184400"/>
            <a:ext cx="1849120" cy="184912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C24B53-AFCE-4614-B744-7511E8B65FF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700520" y="2184400"/>
            <a:ext cx="1849120" cy="184912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E5876203-F517-4E1F-B3B3-35583A685D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46090" y="4191001"/>
            <a:ext cx="2641663" cy="355600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name her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5B28669-EBA7-4FF2-9542-243416404E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46090" y="4714877"/>
            <a:ext cx="2641663" cy="1360805"/>
          </a:xfrm>
        </p:spPr>
        <p:txBody>
          <a:bodyPr>
            <a:noAutofit/>
          </a:bodyPr>
          <a:lstStyle>
            <a:lvl1pPr marL="173034" indent="-173034">
              <a:defRPr sz="1600">
                <a:solidFill>
                  <a:schemeClr val="bg1"/>
                </a:solidFill>
              </a:defRPr>
            </a:lvl1pPr>
            <a:lvl2pPr marL="630223" indent="-173034">
              <a:defRPr sz="1400">
                <a:solidFill>
                  <a:schemeClr val="bg1"/>
                </a:solidFill>
              </a:defRPr>
            </a:lvl2pPr>
            <a:lvl3pPr marL="1087411" indent="-173034"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1B3E5CAC-6AC6-4754-A9EF-CFCB82CF51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04250" y="4191001"/>
            <a:ext cx="2641663" cy="355600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name here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2ED708E4-1172-453B-8052-F2B52AF8FA2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04250" y="4714877"/>
            <a:ext cx="2641663" cy="1360805"/>
          </a:xfrm>
        </p:spPr>
        <p:txBody>
          <a:bodyPr>
            <a:noAutofit/>
          </a:bodyPr>
          <a:lstStyle>
            <a:lvl1pPr marL="173034" indent="-173034">
              <a:defRPr sz="1600">
                <a:solidFill>
                  <a:schemeClr val="bg1"/>
                </a:solidFill>
              </a:defRPr>
            </a:lvl1pPr>
            <a:lvl2pPr marL="630223" indent="-173034">
              <a:defRPr sz="1400">
                <a:solidFill>
                  <a:schemeClr val="bg1"/>
                </a:solidFill>
              </a:defRPr>
            </a:lvl2pPr>
            <a:lvl3pPr marL="1087411" indent="-173034"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5357784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a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F3A1AD-6001-4758-818B-119EFFC395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440" y="355295"/>
            <a:ext cx="1124712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005FDD1-13EB-4758-8014-23ABC93953F0}"/>
              </a:ext>
            </a:extLst>
          </p:cNvPr>
          <p:cNvSpPr/>
          <p:nvPr userDrawn="1"/>
        </p:nvSpPr>
        <p:spPr>
          <a:xfrm>
            <a:off x="1574800" y="1849121"/>
            <a:ext cx="2926080" cy="436435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62FE698-52A0-4CCD-A92F-08EBCDE250EE}"/>
              </a:ext>
            </a:extLst>
          </p:cNvPr>
          <p:cNvSpPr/>
          <p:nvPr userDrawn="1"/>
        </p:nvSpPr>
        <p:spPr>
          <a:xfrm>
            <a:off x="4632960" y="1849121"/>
            <a:ext cx="2926080" cy="436435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E73B4E0-AC71-4CB9-A4A6-BBAB538A521B}"/>
              </a:ext>
            </a:extLst>
          </p:cNvPr>
          <p:cNvSpPr/>
          <p:nvPr userDrawn="1"/>
        </p:nvSpPr>
        <p:spPr>
          <a:xfrm>
            <a:off x="7691120" y="1849121"/>
            <a:ext cx="2926080" cy="436435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0A2304B-9AEB-4E06-9DD8-199413308BD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113280" y="2184400"/>
            <a:ext cx="1849120" cy="184912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C24B53-AFCE-4614-B744-7511E8B65FF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171440" y="2184400"/>
            <a:ext cx="1849120" cy="184912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E06E37E4-7915-4010-B390-F1CD62E2C1B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229600" y="2184400"/>
            <a:ext cx="1849120" cy="184912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E5876203-F517-4E1F-B3B3-35583A685D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17010" y="4191001"/>
            <a:ext cx="2641663" cy="355600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name her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5B28669-EBA7-4FF2-9542-243416404E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17010" y="4714877"/>
            <a:ext cx="2641663" cy="1360805"/>
          </a:xfrm>
        </p:spPr>
        <p:txBody>
          <a:bodyPr>
            <a:noAutofit/>
          </a:bodyPr>
          <a:lstStyle>
            <a:lvl1pPr marL="173034" indent="-173034">
              <a:defRPr sz="1600">
                <a:solidFill>
                  <a:schemeClr val="bg1"/>
                </a:solidFill>
              </a:defRPr>
            </a:lvl1pPr>
            <a:lvl2pPr marL="630223" indent="-173034">
              <a:defRPr sz="1400">
                <a:solidFill>
                  <a:schemeClr val="bg1"/>
                </a:solidFill>
              </a:defRPr>
            </a:lvl2pPr>
            <a:lvl3pPr marL="1087411" indent="-173034"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1B3E5CAC-6AC6-4754-A9EF-CFCB82CF51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75170" y="4191001"/>
            <a:ext cx="2641663" cy="355600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name here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2ED708E4-1172-453B-8052-F2B52AF8FA2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75170" y="4714877"/>
            <a:ext cx="2641663" cy="1360805"/>
          </a:xfrm>
        </p:spPr>
        <p:txBody>
          <a:bodyPr>
            <a:noAutofit/>
          </a:bodyPr>
          <a:lstStyle>
            <a:lvl1pPr marL="173034" indent="-173034">
              <a:defRPr sz="1600">
                <a:solidFill>
                  <a:schemeClr val="bg1"/>
                </a:solidFill>
              </a:defRPr>
            </a:lvl1pPr>
            <a:lvl2pPr marL="630223" indent="-173034">
              <a:defRPr sz="1400">
                <a:solidFill>
                  <a:schemeClr val="bg1"/>
                </a:solidFill>
              </a:defRPr>
            </a:lvl2pPr>
            <a:lvl3pPr marL="1087411" indent="-173034"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F7497EEF-F155-4420-963F-DD01464A6EE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33330" y="4191001"/>
            <a:ext cx="2641663" cy="355600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name here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25EBB976-2F02-4DFB-A4DD-6EB79B55BFD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33330" y="4714877"/>
            <a:ext cx="2641663" cy="1360805"/>
          </a:xfrm>
        </p:spPr>
        <p:txBody>
          <a:bodyPr>
            <a:noAutofit/>
          </a:bodyPr>
          <a:lstStyle>
            <a:lvl1pPr marL="173034" indent="-173034">
              <a:defRPr sz="1600">
                <a:solidFill>
                  <a:schemeClr val="bg1"/>
                </a:solidFill>
              </a:defRPr>
            </a:lvl1pPr>
            <a:lvl2pPr marL="630223" indent="-173034">
              <a:defRPr sz="1400">
                <a:solidFill>
                  <a:schemeClr val="bg1"/>
                </a:solidFill>
              </a:defRPr>
            </a:lvl2pPr>
            <a:lvl3pPr marL="1087411" indent="-173034"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291388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19D194-384B-FF74-4A95-5F72043244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01A884-C29A-24CB-F213-C67C558EA33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BA4E4F-D69A-A894-EFAD-E7766C5EE0D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8D7347-0129-DE53-90E8-14A30D57E8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6312C-EAFF-4BED-94F5-BEE52E89B31E}" type="datetimeFigureOut">
              <a:rPr lang="en-US" smtClean="0"/>
              <a:t>2/14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9E7C22B-4C93-835A-E25C-CA1348EBDE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2390406-1F2C-56A4-6372-CF7D99DAE6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EEC150-AE8D-49EF-81A6-13FC777E18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678290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60995185-2E5B-4A81-8A1E-ABD347D395E5}"/>
              </a:ext>
            </a:extLst>
          </p:cNvPr>
          <p:cNvSpPr/>
          <p:nvPr userDrawn="1"/>
        </p:nvSpPr>
        <p:spPr>
          <a:xfrm>
            <a:off x="8985504" y="1849121"/>
            <a:ext cx="2734056" cy="436435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F3A1AD-6001-4758-818B-119EFFC395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440" y="355295"/>
            <a:ext cx="1124712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005FDD1-13EB-4758-8014-23ABC93953F0}"/>
              </a:ext>
            </a:extLst>
          </p:cNvPr>
          <p:cNvSpPr/>
          <p:nvPr userDrawn="1"/>
        </p:nvSpPr>
        <p:spPr>
          <a:xfrm>
            <a:off x="472440" y="1849121"/>
            <a:ext cx="2734056" cy="436435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62FE698-52A0-4CCD-A92F-08EBCDE250EE}"/>
              </a:ext>
            </a:extLst>
          </p:cNvPr>
          <p:cNvSpPr/>
          <p:nvPr userDrawn="1"/>
        </p:nvSpPr>
        <p:spPr>
          <a:xfrm>
            <a:off x="3311531" y="1849121"/>
            <a:ext cx="2734056" cy="436435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E73B4E0-AC71-4CB9-A4A6-BBAB538A521B}"/>
              </a:ext>
            </a:extLst>
          </p:cNvPr>
          <p:cNvSpPr/>
          <p:nvPr userDrawn="1"/>
        </p:nvSpPr>
        <p:spPr>
          <a:xfrm>
            <a:off x="6150619" y="1849121"/>
            <a:ext cx="2734056" cy="436435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0A2304B-9AEB-4E06-9DD8-199413308BD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14908" y="2184400"/>
            <a:ext cx="1849120" cy="184912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C24B53-AFCE-4614-B744-7511E8B65FF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753999" y="2184400"/>
            <a:ext cx="1849120" cy="184912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E06E37E4-7915-4010-B390-F1CD62E2C1B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593087" y="2184400"/>
            <a:ext cx="1849120" cy="184912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E5876203-F517-4E1F-B3B3-35583A685D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2743" y="4191001"/>
            <a:ext cx="2513451" cy="355600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name her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5B28669-EBA7-4FF2-9542-243416404E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2743" y="4714877"/>
            <a:ext cx="2513451" cy="1360805"/>
          </a:xfrm>
        </p:spPr>
        <p:txBody>
          <a:bodyPr>
            <a:noAutofit/>
          </a:bodyPr>
          <a:lstStyle>
            <a:lvl1pPr marL="173034" indent="-173034">
              <a:defRPr sz="1600">
                <a:solidFill>
                  <a:schemeClr val="bg1"/>
                </a:solidFill>
              </a:defRPr>
            </a:lvl1pPr>
            <a:lvl2pPr marL="630223" indent="-173034">
              <a:defRPr sz="1400">
                <a:solidFill>
                  <a:schemeClr val="bg1"/>
                </a:solidFill>
              </a:defRPr>
            </a:lvl2pPr>
            <a:lvl3pPr marL="1087411" indent="-173034"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1B3E5CAC-6AC6-4754-A9EF-CFCB82CF51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21259" y="4191001"/>
            <a:ext cx="2514600" cy="355600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name here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2ED708E4-1172-453B-8052-F2B52AF8FA2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421259" y="4714877"/>
            <a:ext cx="2514600" cy="1360805"/>
          </a:xfrm>
        </p:spPr>
        <p:txBody>
          <a:bodyPr>
            <a:noAutofit/>
          </a:bodyPr>
          <a:lstStyle>
            <a:lvl1pPr marL="173034" indent="-173034">
              <a:defRPr sz="1600">
                <a:solidFill>
                  <a:schemeClr val="bg1"/>
                </a:solidFill>
              </a:defRPr>
            </a:lvl1pPr>
            <a:lvl2pPr marL="630223" indent="-173034">
              <a:defRPr sz="1400">
                <a:solidFill>
                  <a:schemeClr val="bg1"/>
                </a:solidFill>
              </a:defRPr>
            </a:lvl2pPr>
            <a:lvl3pPr marL="1087411" indent="-173034"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F7497EEF-F155-4420-963F-DD01464A6EE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60347" y="4191001"/>
            <a:ext cx="2514600" cy="355600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name here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25EBB976-2F02-4DFB-A4DD-6EB79B55BFD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60347" y="4714877"/>
            <a:ext cx="2514600" cy="1360805"/>
          </a:xfrm>
        </p:spPr>
        <p:txBody>
          <a:bodyPr>
            <a:noAutofit/>
          </a:bodyPr>
          <a:lstStyle>
            <a:lvl1pPr marL="173034" indent="-173034">
              <a:defRPr sz="1600">
                <a:solidFill>
                  <a:schemeClr val="bg1"/>
                </a:solidFill>
              </a:defRPr>
            </a:lvl1pPr>
            <a:lvl2pPr marL="630223" indent="-173034">
              <a:defRPr sz="1400">
                <a:solidFill>
                  <a:schemeClr val="bg1"/>
                </a:solidFill>
              </a:defRPr>
            </a:lvl2pPr>
            <a:lvl3pPr marL="1087411" indent="-173034"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54318CAE-0980-4E7F-BE5A-A5B766C7510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427972" y="2184400"/>
            <a:ext cx="1849120" cy="184912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 dirty="0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B4A11566-5BA0-4C10-977D-ADB87BED05B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95232" y="4191001"/>
            <a:ext cx="2514600" cy="355600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name here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A84FA37E-6CBC-4007-9228-2585146414C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95232" y="4714877"/>
            <a:ext cx="2514600" cy="1360805"/>
          </a:xfrm>
        </p:spPr>
        <p:txBody>
          <a:bodyPr>
            <a:noAutofit/>
          </a:bodyPr>
          <a:lstStyle>
            <a:lvl1pPr marL="173034" indent="-173034">
              <a:defRPr sz="1600">
                <a:solidFill>
                  <a:schemeClr val="bg1"/>
                </a:solidFill>
              </a:defRPr>
            </a:lvl1pPr>
            <a:lvl2pPr marL="630223" indent="-173034">
              <a:defRPr sz="1400">
                <a:solidFill>
                  <a:schemeClr val="bg1"/>
                </a:solidFill>
              </a:defRPr>
            </a:lvl2pPr>
            <a:lvl3pPr marL="1087411" indent="-173034"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3817201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DDA844A-DCC7-4178-8C90-0E60FA69DA71}"/>
              </a:ext>
            </a:extLst>
          </p:cNvPr>
          <p:cNvSpPr/>
          <p:nvPr userDrawn="1"/>
        </p:nvSpPr>
        <p:spPr>
          <a:xfrm>
            <a:off x="-3" y="0"/>
            <a:ext cx="3898733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D6A876-188F-4A3F-898A-A1E5551FD4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365125"/>
            <a:ext cx="3082711" cy="1845640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3" name="Picture 12" descr="A group of people sitting at a desk&#10;&#10;Description automatically generated">
            <a:extLst>
              <a:ext uri="{FF2B5EF4-FFF2-40B4-BE49-F238E27FC236}">
                <a16:creationId xmlns:a16="http://schemas.microsoft.com/office/drawing/2014/main" id="{EE163BF7-A3B9-494E-854F-03724DA54D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6" b="33620"/>
          <a:stretch/>
        </p:blipFill>
        <p:spPr>
          <a:xfrm>
            <a:off x="3898730" y="-1"/>
            <a:ext cx="8293271" cy="3428995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55927752-7E7A-482E-89C6-602C87153262}"/>
              </a:ext>
            </a:extLst>
          </p:cNvPr>
          <p:cNvSpPr/>
          <p:nvPr userDrawn="1"/>
        </p:nvSpPr>
        <p:spPr>
          <a:xfrm>
            <a:off x="3917780" y="3429006"/>
            <a:ext cx="2683046" cy="3428995"/>
          </a:xfrm>
          <a:prstGeom prst="rect">
            <a:avLst/>
          </a:prstGeom>
          <a:ln w="571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l"/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C2EDDAE-995A-458A-98BC-C9ED736CBFAC}"/>
              </a:ext>
            </a:extLst>
          </p:cNvPr>
          <p:cNvSpPr/>
          <p:nvPr userDrawn="1"/>
        </p:nvSpPr>
        <p:spPr>
          <a:xfrm>
            <a:off x="6663155" y="3429007"/>
            <a:ext cx="2764421" cy="3428995"/>
          </a:xfrm>
          <a:prstGeom prst="rect">
            <a:avLst/>
          </a:prstGeom>
          <a:ln w="5715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l"/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EE25735-2092-482F-A6C2-5A13A0CDDC7D}"/>
              </a:ext>
            </a:extLst>
          </p:cNvPr>
          <p:cNvSpPr/>
          <p:nvPr userDrawn="1"/>
        </p:nvSpPr>
        <p:spPr>
          <a:xfrm>
            <a:off x="9508955" y="3429007"/>
            <a:ext cx="2683046" cy="3428993"/>
          </a:xfrm>
          <a:prstGeom prst="rect">
            <a:avLst/>
          </a:prstGeom>
          <a:ln w="5715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l"/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F43484B1-8365-4AD6-B26C-3F72E2B22CAA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>
          <a:xfrm>
            <a:off x="457201" y="2465689"/>
            <a:ext cx="3082711" cy="373667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3CFAFA6C-B434-40BD-B7D7-467AD69D21D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51799" y="6358172"/>
            <a:ext cx="896112" cy="280035"/>
          </a:xfrm>
          <a:prstGeom prst="rect">
            <a:avLst/>
          </a:prstGeom>
        </p:spPr>
      </p:pic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D454051E-E6FD-4033-9992-378C57CFCD8E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100325" y="3646450"/>
            <a:ext cx="2361236" cy="60146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Heading 1</a:t>
            </a:r>
            <a:endParaRPr lang="en-GB" dirty="0"/>
          </a:p>
        </p:txBody>
      </p:sp>
      <p:sp>
        <p:nvSpPr>
          <p:cNvPr id="26" name="Text Placeholder 24">
            <a:extLst>
              <a:ext uri="{FF2B5EF4-FFF2-40B4-BE49-F238E27FC236}">
                <a16:creationId xmlns:a16="http://schemas.microsoft.com/office/drawing/2014/main" id="{91AF4A85-3B94-43AD-ABEA-4088A31E98B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64747" y="3646450"/>
            <a:ext cx="2361236" cy="60146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Heading 2</a:t>
            </a:r>
            <a:endParaRPr lang="en-GB" dirty="0"/>
          </a:p>
        </p:txBody>
      </p:sp>
      <p:sp>
        <p:nvSpPr>
          <p:cNvPr id="27" name="Text Placeholder 24">
            <a:extLst>
              <a:ext uri="{FF2B5EF4-FFF2-40B4-BE49-F238E27FC236}">
                <a16:creationId xmlns:a16="http://schemas.microsoft.com/office/drawing/2014/main" id="{474525DE-32BF-4229-B9DE-90411AB78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9171" y="3646450"/>
            <a:ext cx="2361236" cy="60146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Heading 3</a:t>
            </a:r>
            <a:endParaRPr lang="en-GB" dirty="0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6E73C314-B72D-49CF-98D4-7945DF455F5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00325" y="4443413"/>
            <a:ext cx="2361235" cy="1758950"/>
          </a:xfrm>
          <a:prstGeom prst="rect">
            <a:avLst/>
          </a:prstGeom>
        </p:spPr>
        <p:txBody>
          <a:bodyPr>
            <a:noAutofit/>
          </a:bodyPr>
          <a:lstStyle>
            <a:lvl1pPr marL="231769" indent="-231769">
              <a:defRPr sz="1800">
                <a:solidFill>
                  <a:schemeClr val="tx1"/>
                </a:solidFill>
              </a:defRPr>
            </a:lvl1pPr>
            <a:lvl2pPr marL="741344" indent="-284156">
              <a:defRPr sz="1600">
                <a:solidFill>
                  <a:schemeClr val="tx1"/>
                </a:solidFill>
              </a:defRPr>
            </a:lvl2pPr>
            <a:lvl3pPr marL="1087411" indent="-173034"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A33B6394-C324-43FB-BB51-4AC98F1E8EB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4749" y="4443413"/>
            <a:ext cx="2361235" cy="1758950"/>
          </a:xfrm>
          <a:prstGeom prst="rect">
            <a:avLst/>
          </a:prstGeom>
        </p:spPr>
        <p:txBody>
          <a:bodyPr>
            <a:noAutofit/>
          </a:bodyPr>
          <a:lstStyle>
            <a:lvl1pPr marL="231769" indent="-231769">
              <a:defRPr sz="1800">
                <a:solidFill>
                  <a:schemeClr val="tx1"/>
                </a:solidFill>
              </a:defRPr>
            </a:lvl1pPr>
            <a:lvl2pPr marL="741344" indent="-284156">
              <a:defRPr sz="1600">
                <a:solidFill>
                  <a:schemeClr val="tx1"/>
                </a:solidFill>
              </a:defRPr>
            </a:lvl2pPr>
            <a:lvl3pPr marL="1087411" indent="-173034"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97B4F204-A0B2-4A3F-B9A8-8B542A856DD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629172" y="4443413"/>
            <a:ext cx="2361235" cy="1758950"/>
          </a:xfrm>
          <a:prstGeom prst="rect">
            <a:avLst/>
          </a:prstGeom>
        </p:spPr>
        <p:txBody>
          <a:bodyPr>
            <a:noAutofit/>
          </a:bodyPr>
          <a:lstStyle>
            <a:lvl1pPr marL="231769" indent="-231769">
              <a:defRPr sz="1800">
                <a:solidFill>
                  <a:schemeClr val="tx1"/>
                </a:solidFill>
              </a:defRPr>
            </a:lvl1pPr>
            <a:lvl2pPr marL="741344" indent="-284156">
              <a:defRPr sz="1600">
                <a:solidFill>
                  <a:schemeClr val="tx1"/>
                </a:solidFill>
              </a:defRPr>
            </a:lvl2pPr>
            <a:lvl3pPr marL="1087411" indent="-173034"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6678921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 Blee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04FC7C7-2B27-49C4-B9D4-53BFD986A9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04FC7C7-2B27-49C4-B9D4-53BFD986A9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42156EE-4523-4C3B-A50D-CB3AA751463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4400" b="0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B501DF7-D921-4EA4-8305-ADCB05E8B7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4137" y="365127"/>
            <a:ext cx="7459665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1742C53-4977-441E-977E-F3170DDBC854}"/>
              </a:ext>
            </a:extLst>
          </p:cNvPr>
          <p:cNvSpPr/>
          <p:nvPr userDrawn="1"/>
        </p:nvSpPr>
        <p:spPr>
          <a:xfrm>
            <a:off x="0" y="0"/>
            <a:ext cx="36576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90DB00-0EB3-4F0F-A978-75DA80B089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785" y="1441311"/>
            <a:ext cx="2909259" cy="3975381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  <a:lvl2pPr marL="685783" indent="-228594">
              <a:buFont typeface="Calibri" panose="020F0502020204030204" pitchFamily="34" charset="0"/>
              <a:buChar char="–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 marL="1600160" indent="-228594">
              <a:buFont typeface="Calibri" panose="020F0502020204030204" pitchFamily="34" charset="0"/>
              <a:buChar char="–"/>
              <a:defRPr>
                <a:solidFill>
                  <a:schemeClr val="bg1"/>
                </a:solidFill>
              </a:defRPr>
            </a:lvl4pPr>
            <a:lvl5pPr marL="2057349" indent="-228594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7E511E8-EB7B-449D-9563-E0DDA2E6182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1799" y="6358172"/>
            <a:ext cx="896112" cy="280035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2C194C51-61E0-48BF-BBD0-25C2314CD9B6}"/>
              </a:ext>
            </a:extLst>
          </p:cNvPr>
          <p:cNvGrpSpPr/>
          <p:nvPr userDrawn="1"/>
        </p:nvGrpSpPr>
        <p:grpSpPr>
          <a:xfrm>
            <a:off x="10670876" y="235"/>
            <a:ext cx="1521125" cy="91440"/>
            <a:chOff x="85490" y="5421819"/>
            <a:chExt cx="9411633" cy="295508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847D225-557C-4AB0-9EBC-B382093F6E59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C6A86E8-35F7-49BB-ABC2-E3C086B656A5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11CE927-3D03-48F6-AD90-A8EC1773A72A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136956184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Half Blee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04FC7C7-2B27-49C4-B9D4-53BFD986A9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04FC7C7-2B27-49C4-B9D4-53BFD986A9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42156EE-4523-4C3B-A50D-CB3AA751463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4400" b="0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B501DF7-D921-4EA4-8305-ADCB05E8B7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4137" y="365127"/>
            <a:ext cx="7459665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1742C53-4977-441E-977E-F3170DDBC854}"/>
              </a:ext>
            </a:extLst>
          </p:cNvPr>
          <p:cNvSpPr/>
          <p:nvPr userDrawn="1"/>
        </p:nvSpPr>
        <p:spPr>
          <a:xfrm>
            <a:off x="0" y="2"/>
            <a:ext cx="3657600" cy="571068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90DB00-0EB3-4F0F-A978-75DA80B089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785" y="1441311"/>
            <a:ext cx="2909259" cy="3975381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  <a:lvl2pPr marL="685783" indent="-228594">
              <a:buFont typeface="Calibri" panose="020F0502020204030204" pitchFamily="34" charset="0"/>
              <a:buChar char="–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 marL="1600160" indent="-228594">
              <a:buFont typeface="Calibri" panose="020F0502020204030204" pitchFamily="34" charset="0"/>
              <a:buChar char="–"/>
              <a:defRPr>
                <a:solidFill>
                  <a:schemeClr val="bg1"/>
                </a:solidFill>
              </a:defRPr>
            </a:lvl4pPr>
            <a:lvl5pPr marL="2057349" indent="-228594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7E511E8-EB7B-449D-9563-E0DDA2E6182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1799" y="6358172"/>
            <a:ext cx="896112" cy="280035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2C194C51-61E0-48BF-BBD0-25C2314CD9B6}"/>
              </a:ext>
            </a:extLst>
          </p:cNvPr>
          <p:cNvGrpSpPr/>
          <p:nvPr userDrawn="1"/>
        </p:nvGrpSpPr>
        <p:grpSpPr>
          <a:xfrm>
            <a:off x="10670876" y="235"/>
            <a:ext cx="1521125" cy="91440"/>
            <a:chOff x="85490" y="5421819"/>
            <a:chExt cx="9411633" cy="295508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847D225-557C-4AB0-9EBC-B382093F6E59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C6A86E8-35F7-49BB-ABC2-E3C086B656A5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11CE927-3D03-48F6-AD90-A8EC1773A72A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3E55395B-CFA3-4573-B4CB-0C350D2EE0F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37523" y="6060925"/>
            <a:ext cx="1835055" cy="574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426659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s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2DE6AE2-87E1-4430-B0BD-8326978FC060}"/>
              </a:ext>
            </a:extLst>
          </p:cNvPr>
          <p:cNvSpPr/>
          <p:nvPr userDrawn="1"/>
        </p:nvSpPr>
        <p:spPr>
          <a:xfrm>
            <a:off x="1" y="3429000"/>
            <a:ext cx="4078916" cy="3429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616FD10-DBBA-4CDA-8AAF-6946B974730B}"/>
              </a:ext>
            </a:extLst>
          </p:cNvPr>
          <p:cNvSpPr/>
          <p:nvPr userDrawn="1"/>
        </p:nvSpPr>
        <p:spPr>
          <a:xfrm flipH="1">
            <a:off x="4034169" y="0"/>
            <a:ext cx="4078916" cy="3429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594DAD2-C815-4B81-8729-40391F278D1B}"/>
              </a:ext>
            </a:extLst>
          </p:cNvPr>
          <p:cNvSpPr/>
          <p:nvPr userDrawn="1"/>
        </p:nvSpPr>
        <p:spPr>
          <a:xfrm>
            <a:off x="8113085" y="3429000"/>
            <a:ext cx="4078916" cy="3429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20" name="Picture Placeholder 16">
            <a:extLst>
              <a:ext uri="{FF2B5EF4-FFF2-40B4-BE49-F238E27FC236}">
                <a16:creationId xmlns:a16="http://schemas.microsoft.com/office/drawing/2014/main" id="{D55A24BA-3949-4EC1-8D8F-3E586BAAB63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78916" y="3429000"/>
            <a:ext cx="4034168" cy="3429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Picture Placeholder 16">
            <a:extLst>
              <a:ext uri="{FF2B5EF4-FFF2-40B4-BE49-F238E27FC236}">
                <a16:creationId xmlns:a16="http://schemas.microsoft.com/office/drawing/2014/main" id="{7D5022D9-B78A-4769-A739-22701EEA6F0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034168" cy="3429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2" name="Picture Placeholder 16">
            <a:extLst>
              <a:ext uri="{FF2B5EF4-FFF2-40B4-BE49-F238E27FC236}">
                <a16:creationId xmlns:a16="http://schemas.microsoft.com/office/drawing/2014/main" id="{40C1821A-0156-4A83-B270-5934330456F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157832" y="0"/>
            <a:ext cx="4034168" cy="3429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0361B460-8A72-4545-9216-874775335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8749" y="3576337"/>
            <a:ext cx="3281423" cy="578975"/>
          </a:xfrm>
        </p:spPr>
        <p:txBody>
          <a:bodyPr anchor="ctr"/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ing 1</a:t>
            </a:r>
            <a:endParaRPr lang="en-GB" dirty="0"/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F1432BE1-2C57-45FB-8677-8EE5CFE49E7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11833" y="3576337"/>
            <a:ext cx="3281423" cy="578975"/>
          </a:xfrm>
        </p:spPr>
        <p:txBody>
          <a:bodyPr anchor="ctr"/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ing 3</a:t>
            </a:r>
            <a:endParaRPr lang="en-GB" dirty="0"/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B6DC5200-0D0E-4A6C-9A1D-3465A5B1A92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33554" y="354475"/>
            <a:ext cx="3281423" cy="578975"/>
          </a:xfrm>
        </p:spPr>
        <p:txBody>
          <a:bodyPr anchor="ctr"/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ing 2</a:t>
            </a:r>
            <a:endParaRPr lang="en-GB" dirty="0"/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C226C4EF-5E0C-4686-9AAD-144CDDA3EE1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98747" y="4302647"/>
            <a:ext cx="3282696" cy="1910828"/>
          </a:xfrm>
        </p:spPr>
        <p:txBody>
          <a:bodyPr>
            <a:noAutofit/>
          </a:bodyPr>
          <a:lstStyle>
            <a:lvl1pPr marL="173034" indent="-173034">
              <a:defRPr sz="1600">
                <a:solidFill>
                  <a:schemeClr val="bg1"/>
                </a:solidFill>
              </a:defRPr>
            </a:lvl1pPr>
            <a:lvl2pPr marL="630223" indent="-173034">
              <a:defRPr sz="1400">
                <a:solidFill>
                  <a:schemeClr val="bg1"/>
                </a:solidFill>
              </a:defRPr>
            </a:lvl2pPr>
            <a:lvl3pPr marL="1087411" indent="-173034"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6C2CB6B5-72E3-497B-89B9-5C46AFEDECF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510559" y="4302647"/>
            <a:ext cx="3282696" cy="1910828"/>
          </a:xfrm>
        </p:spPr>
        <p:txBody>
          <a:bodyPr>
            <a:noAutofit/>
          </a:bodyPr>
          <a:lstStyle>
            <a:lvl1pPr marL="173034" indent="-173034">
              <a:defRPr sz="1600">
                <a:solidFill>
                  <a:schemeClr val="bg1"/>
                </a:solidFill>
              </a:defRPr>
            </a:lvl1pPr>
            <a:lvl2pPr marL="630223" indent="-173034">
              <a:defRPr sz="1400">
                <a:solidFill>
                  <a:schemeClr val="bg1"/>
                </a:solidFill>
              </a:defRPr>
            </a:lvl2pPr>
            <a:lvl3pPr marL="1087411" indent="-173034"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2909E8FB-2AF0-4708-A985-6695DC03BDA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32915" y="1074114"/>
            <a:ext cx="3282696" cy="1910828"/>
          </a:xfrm>
        </p:spPr>
        <p:txBody>
          <a:bodyPr>
            <a:noAutofit/>
          </a:bodyPr>
          <a:lstStyle>
            <a:lvl1pPr marL="173034" indent="-173034">
              <a:defRPr sz="1600">
                <a:solidFill>
                  <a:schemeClr val="bg1"/>
                </a:solidFill>
              </a:defRPr>
            </a:lvl1pPr>
            <a:lvl2pPr marL="630223" indent="-173034">
              <a:defRPr sz="1400">
                <a:solidFill>
                  <a:schemeClr val="bg1"/>
                </a:solidFill>
              </a:defRPr>
            </a:lvl2pPr>
            <a:lvl3pPr marL="1087411" indent="-173034"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4146234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EAB2660-6A93-4A45-B414-6861A9AC08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EAB2660-6A93-4A45-B414-6861A9AC08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9F59CC4-67A3-47BE-8E4E-EC39AAEF59B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4400" b="0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39E9F5F-46A2-4AE1-9C92-67C3A6BF84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A25CFF0-8462-409F-8885-EC397D39EF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1805" y="1815794"/>
            <a:ext cx="11247120" cy="440467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641270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04FC7C7-2B27-49C4-B9D4-53BFD986A9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04FC7C7-2B27-49C4-B9D4-53BFD986A9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42156EE-4523-4C3B-A50D-CB3AA751463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4400" b="0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B501DF7-D921-4EA4-8305-ADCB05E8B7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1591017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(6 poi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04FC7C7-2B27-49C4-B9D4-53BFD986A9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04FC7C7-2B27-49C4-B9D4-53BFD986A9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42156EE-4523-4C3B-A50D-CB3AA751463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4400" b="0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F450D15A-BF21-4BAB-8D58-C636FB24234D}"/>
              </a:ext>
            </a:extLst>
          </p:cNvPr>
          <p:cNvCxnSpPr>
            <a:cxnSpLocks/>
            <a:stCxn id="33" idx="7"/>
            <a:endCxn id="175" idx="3"/>
          </p:cNvCxnSpPr>
          <p:nvPr userDrawn="1"/>
        </p:nvCxnSpPr>
        <p:spPr>
          <a:xfrm flipV="1">
            <a:off x="8123772" y="3364061"/>
            <a:ext cx="1035464" cy="77625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3D517BDF-A027-4FFB-935F-1729F69A99EF}"/>
              </a:ext>
            </a:extLst>
          </p:cNvPr>
          <p:cNvCxnSpPr>
            <a:cxnSpLocks/>
            <a:stCxn id="33" idx="0"/>
          </p:cNvCxnSpPr>
          <p:nvPr userDrawn="1"/>
        </p:nvCxnSpPr>
        <p:spPr>
          <a:xfrm flipH="1" flipV="1">
            <a:off x="7794005" y="3638064"/>
            <a:ext cx="1" cy="365661"/>
          </a:xfrm>
          <a:prstGeom prst="line">
            <a:avLst/>
          </a:prstGeom>
          <a:ln>
            <a:solidFill>
              <a:schemeClr val="accent4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4CA10B20-3E7A-4102-9DF2-9D24D039B6EF}"/>
              </a:ext>
            </a:extLst>
          </p:cNvPr>
          <p:cNvCxnSpPr>
            <a:cxnSpLocks/>
          </p:cNvCxnSpPr>
          <p:nvPr userDrawn="1"/>
        </p:nvCxnSpPr>
        <p:spPr>
          <a:xfrm>
            <a:off x="6203463" y="3819899"/>
            <a:ext cx="0" cy="443038"/>
          </a:xfrm>
          <a:prstGeom prst="line">
            <a:avLst/>
          </a:prstGeom>
          <a:ln>
            <a:solidFill>
              <a:schemeClr val="accent3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A336E55D-4DC7-4DC3-A9DC-121C7571B580}"/>
              </a:ext>
            </a:extLst>
          </p:cNvPr>
          <p:cNvCxnSpPr>
            <a:cxnSpLocks/>
            <a:stCxn id="31" idx="0"/>
          </p:cNvCxnSpPr>
          <p:nvPr userDrawn="1"/>
        </p:nvCxnSpPr>
        <p:spPr>
          <a:xfrm flipV="1">
            <a:off x="4646756" y="4077554"/>
            <a:ext cx="0" cy="462190"/>
          </a:xfrm>
          <a:prstGeom prst="line">
            <a:avLst/>
          </a:prstGeom>
          <a:ln>
            <a:solidFill>
              <a:schemeClr val="accent2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6EDC0828-0FBD-4BBB-9861-6D4B6073E039}"/>
              </a:ext>
            </a:extLst>
          </p:cNvPr>
          <p:cNvCxnSpPr>
            <a:cxnSpLocks/>
          </p:cNvCxnSpPr>
          <p:nvPr userDrawn="1"/>
        </p:nvCxnSpPr>
        <p:spPr>
          <a:xfrm>
            <a:off x="6544545" y="3570314"/>
            <a:ext cx="1050935" cy="79481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212B3A4A-9BDA-4DEE-A3DF-8C8E7C864259}"/>
              </a:ext>
            </a:extLst>
          </p:cNvPr>
          <p:cNvCxnSpPr>
            <a:cxnSpLocks/>
            <a:endCxn id="119" idx="3"/>
          </p:cNvCxnSpPr>
          <p:nvPr userDrawn="1"/>
        </p:nvCxnSpPr>
        <p:spPr>
          <a:xfrm flipV="1">
            <a:off x="4816275" y="3738258"/>
            <a:ext cx="978403" cy="810882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AE1ECBA3-E286-4CC6-913E-0F5574CE3CBF}"/>
              </a:ext>
            </a:extLst>
          </p:cNvPr>
          <p:cNvCxnSpPr>
            <a:cxnSpLocks/>
          </p:cNvCxnSpPr>
          <p:nvPr userDrawn="1"/>
        </p:nvCxnSpPr>
        <p:spPr>
          <a:xfrm>
            <a:off x="3397701" y="3707265"/>
            <a:ext cx="1078719" cy="83247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7ABC1C1B-4A7F-42F7-967F-7CB7B11EFFE2}"/>
              </a:ext>
            </a:extLst>
          </p:cNvPr>
          <p:cNvCxnSpPr>
            <a:cxnSpLocks/>
            <a:endCxn id="65" idx="7"/>
          </p:cNvCxnSpPr>
          <p:nvPr userDrawn="1"/>
        </p:nvCxnSpPr>
        <p:spPr>
          <a:xfrm flipV="1">
            <a:off x="9687212" y="2496181"/>
            <a:ext cx="583693" cy="38039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00CAA7EB-0222-431B-958A-116809616450}"/>
              </a:ext>
            </a:extLst>
          </p:cNvPr>
          <p:cNvCxnSpPr>
            <a:cxnSpLocks/>
            <a:stCxn id="29" idx="7"/>
            <a:endCxn id="118" idx="3"/>
          </p:cNvCxnSpPr>
          <p:nvPr userDrawn="1"/>
        </p:nvCxnSpPr>
        <p:spPr>
          <a:xfrm flipV="1">
            <a:off x="1623915" y="3743087"/>
            <a:ext cx="1023980" cy="1093041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Oval 114">
            <a:extLst>
              <a:ext uri="{FF2B5EF4-FFF2-40B4-BE49-F238E27FC236}">
                <a16:creationId xmlns:a16="http://schemas.microsoft.com/office/drawing/2014/main" id="{CAAC4C57-9573-41F5-9777-1E2281AB93B6}"/>
              </a:ext>
            </a:extLst>
          </p:cNvPr>
          <p:cNvSpPr/>
          <p:nvPr userDrawn="1"/>
        </p:nvSpPr>
        <p:spPr>
          <a:xfrm>
            <a:off x="758126" y="4629874"/>
            <a:ext cx="1072044" cy="107204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2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6" name="Oval 115">
            <a:extLst>
              <a:ext uri="{FF2B5EF4-FFF2-40B4-BE49-F238E27FC236}">
                <a16:creationId xmlns:a16="http://schemas.microsoft.com/office/drawing/2014/main" id="{03C96F7D-7E97-432E-AE63-F5BF782C7ACC}"/>
              </a:ext>
            </a:extLst>
          </p:cNvPr>
          <p:cNvSpPr/>
          <p:nvPr userDrawn="1"/>
        </p:nvSpPr>
        <p:spPr>
          <a:xfrm>
            <a:off x="4110735" y="4470087"/>
            <a:ext cx="1072044" cy="107204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7" name="Oval 116">
            <a:extLst>
              <a:ext uri="{FF2B5EF4-FFF2-40B4-BE49-F238E27FC236}">
                <a16:creationId xmlns:a16="http://schemas.microsoft.com/office/drawing/2014/main" id="{DB4E5038-1A7D-4746-B320-495220E62B5E}"/>
              </a:ext>
            </a:extLst>
          </p:cNvPr>
          <p:cNvSpPr/>
          <p:nvPr userDrawn="1"/>
        </p:nvSpPr>
        <p:spPr>
          <a:xfrm>
            <a:off x="7257983" y="3934066"/>
            <a:ext cx="1072044" cy="107204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8" name="Oval 117">
            <a:extLst>
              <a:ext uri="{FF2B5EF4-FFF2-40B4-BE49-F238E27FC236}">
                <a16:creationId xmlns:a16="http://schemas.microsoft.com/office/drawing/2014/main" id="{C1C463EA-2EFE-4E79-A2CD-73F7CC421407}"/>
              </a:ext>
            </a:extLst>
          </p:cNvPr>
          <p:cNvSpPr/>
          <p:nvPr userDrawn="1"/>
        </p:nvSpPr>
        <p:spPr>
          <a:xfrm>
            <a:off x="2490899" y="2828040"/>
            <a:ext cx="1072044" cy="107204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9" name="Oval 118">
            <a:extLst>
              <a:ext uri="{FF2B5EF4-FFF2-40B4-BE49-F238E27FC236}">
                <a16:creationId xmlns:a16="http://schemas.microsoft.com/office/drawing/2014/main" id="{DAB0A538-A15A-4E4F-B6CB-688456BA2515}"/>
              </a:ext>
            </a:extLst>
          </p:cNvPr>
          <p:cNvSpPr/>
          <p:nvPr userDrawn="1"/>
        </p:nvSpPr>
        <p:spPr>
          <a:xfrm>
            <a:off x="5637681" y="2823213"/>
            <a:ext cx="1072044" cy="107204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53BC7FD3-A08C-4505-AF32-8DB519310FAB}"/>
              </a:ext>
            </a:extLst>
          </p:cNvPr>
          <p:cNvSpPr/>
          <p:nvPr userDrawn="1"/>
        </p:nvSpPr>
        <p:spPr>
          <a:xfrm>
            <a:off x="827785" y="4699533"/>
            <a:ext cx="932727" cy="93272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2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37432155-3866-467D-93AC-B907FBEFA173}"/>
              </a:ext>
            </a:extLst>
          </p:cNvPr>
          <p:cNvSpPr/>
          <p:nvPr userDrawn="1"/>
        </p:nvSpPr>
        <p:spPr>
          <a:xfrm>
            <a:off x="4180394" y="4539746"/>
            <a:ext cx="932727" cy="93272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algn="ctr" defTabSz="914377" rtl="0" eaLnBrk="1" latinLnBrk="0" hangingPunct="1"/>
            <a:endParaRPr lang="en-US" sz="1200" b="1" kern="1200" dirty="0">
              <a:solidFill>
                <a:schemeClr val="bg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AC25CB83-9C7E-45DD-AED6-6EA64698027A}"/>
              </a:ext>
            </a:extLst>
          </p:cNvPr>
          <p:cNvSpPr/>
          <p:nvPr userDrawn="1"/>
        </p:nvSpPr>
        <p:spPr>
          <a:xfrm>
            <a:off x="7327642" y="4003725"/>
            <a:ext cx="932727" cy="932727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algn="ctr" defTabSz="914377" rtl="0" eaLnBrk="1" latinLnBrk="0" hangingPunct="1"/>
            <a:endParaRPr lang="en-US" sz="1200" b="1" kern="1200" dirty="0">
              <a:solidFill>
                <a:schemeClr val="bg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E6C7CB3C-82EF-46DF-BBD9-CB2E11BD6BD1}"/>
              </a:ext>
            </a:extLst>
          </p:cNvPr>
          <p:cNvSpPr/>
          <p:nvPr userDrawn="1"/>
        </p:nvSpPr>
        <p:spPr>
          <a:xfrm>
            <a:off x="2560558" y="2897699"/>
            <a:ext cx="932727" cy="93272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algn="ctr" defTabSz="914377" rtl="0" eaLnBrk="1" latinLnBrk="0" hangingPunct="1"/>
            <a:endParaRPr lang="en-US" sz="1200" b="1" kern="1200" dirty="0">
              <a:solidFill>
                <a:schemeClr val="bg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1B18C326-BB3C-4FBC-A2CA-9BBFB4BD8663}"/>
              </a:ext>
            </a:extLst>
          </p:cNvPr>
          <p:cNvSpPr/>
          <p:nvPr userDrawn="1"/>
        </p:nvSpPr>
        <p:spPr>
          <a:xfrm>
            <a:off x="5707339" y="2892872"/>
            <a:ext cx="932727" cy="932727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algn="ctr" defTabSz="914377" rtl="0" eaLnBrk="1" latinLnBrk="0" hangingPunct="1"/>
            <a:endParaRPr lang="en-US" sz="1200" b="1" kern="1200" dirty="0">
              <a:solidFill>
                <a:schemeClr val="bg1"/>
              </a:solidFill>
              <a:latin typeface="+mj-lt"/>
              <a:ea typeface="+mn-ea"/>
              <a:cs typeface="+mn-cs"/>
            </a:endParaRP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1BC990BB-9681-4EFB-B9CA-B7BB7F5E5F9B}"/>
              </a:ext>
            </a:extLst>
          </p:cNvPr>
          <p:cNvGrpSpPr/>
          <p:nvPr userDrawn="1"/>
        </p:nvGrpSpPr>
        <p:grpSpPr>
          <a:xfrm rot="505067">
            <a:off x="10291233" y="1606179"/>
            <a:ext cx="1124809" cy="1067384"/>
            <a:chOff x="10518159" y="2027285"/>
            <a:chExt cx="1124809" cy="1067384"/>
          </a:xfrm>
        </p:grpSpPr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8D7BF13F-2EA2-4865-84E8-41C27A00C8B0}"/>
                </a:ext>
              </a:extLst>
            </p:cNvPr>
            <p:cNvSpPr/>
            <p:nvPr userDrawn="1"/>
          </p:nvSpPr>
          <p:spPr>
            <a:xfrm>
              <a:off x="11460489" y="2027285"/>
              <a:ext cx="182479" cy="193482"/>
            </a:xfrm>
            <a:custGeom>
              <a:avLst/>
              <a:gdLst>
                <a:gd name="connsiteX0" fmla="*/ 95144 w 182479"/>
                <a:gd name="connsiteY0" fmla="*/ 1443 h 193482"/>
                <a:gd name="connsiteX1" fmla="*/ 180163 w 182479"/>
                <a:gd name="connsiteY1" fmla="*/ 13269 h 193482"/>
                <a:gd name="connsiteX2" fmla="*/ 169438 w 182479"/>
                <a:gd name="connsiteY2" fmla="*/ 193482 h 193482"/>
                <a:gd name="connsiteX3" fmla="*/ 0 w 182479"/>
                <a:gd name="connsiteY3" fmla="*/ 1731 h 193482"/>
                <a:gd name="connsiteX4" fmla="*/ 95144 w 182479"/>
                <a:gd name="connsiteY4" fmla="*/ 1443 h 193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2479" h="193482">
                  <a:moveTo>
                    <a:pt x="95144" y="1443"/>
                  </a:moveTo>
                  <a:cubicBezTo>
                    <a:pt x="125360" y="3428"/>
                    <a:pt x="153888" y="7433"/>
                    <a:pt x="180163" y="13269"/>
                  </a:cubicBezTo>
                  <a:cubicBezTo>
                    <a:pt x="185278" y="66856"/>
                    <a:pt x="182015" y="128486"/>
                    <a:pt x="169438" y="193482"/>
                  </a:cubicBezTo>
                  <a:lnTo>
                    <a:pt x="0" y="1731"/>
                  </a:lnTo>
                  <a:cubicBezTo>
                    <a:pt x="33025" y="-510"/>
                    <a:pt x="64928" y="-543"/>
                    <a:pt x="95144" y="144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21106443-FBE3-4073-B7CE-86075326EC86}"/>
                </a:ext>
              </a:extLst>
            </p:cNvPr>
            <p:cNvSpPr/>
            <p:nvPr userDrawn="1"/>
          </p:nvSpPr>
          <p:spPr>
            <a:xfrm>
              <a:off x="10737681" y="2036222"/>
              <a:ext cx="876978" cy="830680"/>
            </a:xfrm>
            <a:custGeom>
              <a:avLst/>
              <a:gdLst>
                <a:gd name="connsiteX0" fmla="*/ 656861 w 876978"/>
                <a:gd name="connsiteY0" fmla="*/ 0 h 830680"/>
                <a:gd name="connsiteX1" fmla="*/ 876978 w 876978"/>
                <a:gd name="connsiteY1" fmla="*/ 249103 h 830680"/>
                <a:gd name="connsiteX2" fmla="*/ 631155 w 876978"/>
                <a:gd name="connsiteY2" fmla="*/ 642689 h 830680"/>
                <a:gd name="connsiteX3" fmla="*/ 229388 w 876978"/>
                <a:gd name="connsiteY3" fmla="*/ 830680 h 830680"/>
                <a:gd name="connsiteX4" fmla="*/ 0 w 876978"/>
                <a:gd name="connsiteY4" fmla="*/ 571083 h 830680"/>
                <a:gd name="connsiteX5" fmla="*/ 236013 w 876978"/>
                <a:gd name="connsiteY5" fmla="*/ 195510 h 830680"/>
                <a:gd name="connsiteX6" fmla="*/ 656861 w 876978"/>
                <a:gd name="connsiteY6" fmla="*/ 0 h 830680"/>
                <a:gd name="connsiteX7" fmla="*/ 571124 w 876978"/>
                <a:gd name="connsiteY7" fmla="*/ 182374 h 830680"/>
                <a:gd name="connsiteX8" fmla="*/ 482816 w 876978"/>
                <a:gd name="connsiteY8" fmla="*/ 212794 h 830680"/>
                <a:gd name="connsiteX9" fmla="*/ 472178 w 876978"/>
                <a:gd name="connsiteY9" fmla="*/ 384995 h 830680"/>
                <a:gd name="connsiteX10" fmla="*/ 556070 w 876978"/>
                <a:gd name="connsiteY10" fmla="*/ 426054 h 830680"/>
                <a:gd name="connsiteX11" fmla="*/ 644379 w 876978"/>
                <a:gd name="connsiteY11" fmla="*/ 395633 h 830680"/>
                <a:gd name="connsiteX12" fmla="*/ 655017 w 876978"/>
                <a:gd name="connsiteY12" fmla="*/ 223432 h 830680"/>
                <a:gd name="connsiteX13" fmla="*/ 571124 w 876978"/>
                <a:gd name="connsiteY13" fmla="*/ 182374 h 830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76978" h="830680">
                  <a:moveTo>
                    <a:pt x="656861" y="0"/>
                  </a:moveTo>
                  <a:lnTo>
                    <a:pt x="876978" y="249103"/>
                  </a:lnTo>
                  <a:cubicBezTo>
                    <a:pt x="838681" y="385078"/>
                    <a:pt x="759947" y="528883"/>
                    <a:pt x="631155" y="642689"/>
                  </a:cubicBezTo>
                  <a:cubicBezTo>
                    <a:pt x="514869" y="745443"/>
                    <a:pt x="349568" y="799102"/>
                    <a:pt x="229388" y="830680"/>
                  </a:cubicBezTo>
                  <a:lnTo>
                    <a:pt x="0" y="571083"/>
                  </a:lnTo>
                  <a:cubicBezTo>
                    <a:pt x="46129" y="455705"/>
                    <a:pt x="119726" y="298264"/>
                    <a:pt x="236013" y="195510"/>
                  </a:cubicBezTo>
                  <a:cubicBezTo>
                    <a:pt x="364805" y="81704"/>
                    <a:pt x="517198" y="21405"/>
                    <a:pt x="656861" y="0"/>
                  </a:cubicBezTo>
                  <a:close/>
                  <a:moveTo>
                    <a:pt x="571124" y="182374"/>
                  </a:moveTo>
                  <a:cubicBezTo>
                    <a:pt x="538634" y="180367"/>
                    <a:pt x="507117" y="191193"/>
                    <a:pt x="482816" y="212794"/>
                  </a:cubicBezTo>
                  <a:cubicBezTo>
                    <a:pt x="432363" y="257377"/>
                    <a:pt x="427588" y="334678"/>
                    <a:pt x="472178" y="384995"/>
                  </a:cubicBezTo>
                  <a:cubicBezTo>
                    <a:pt x="494397" y="410285"/>
                    <a:pt x="524798" y="424122"/>
                    <a:pt x="556070" y="426054"/>
                  </a:cubicBezTo>
                  <a:cubicBezTo>
                    <a:pt x="587208" y="427977"/>
                    <a:pt x="619215" y="417996"/>
                    <a:pt x="644379" y="395633"/>
                  </a:cubicBezTo>
                  <a:cubicBezTo>
                    <a:pt x="694824" y="351187"/>
                    <a:pt x="699599" y="273886"/>
                    <a:pt x="655017" y="223432"/>
                  </a:cubicBezTo>
                  <a:cubicBezTo>
                    <a:pt x="633425" y="198996"/>
                    <a:pt x="603615" y="184381"/>
                    <a:pt x="571124" y="18237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09DA275D-4522-40A8-8DA5-7EC8C104A12C}"/>
                </a:ext>
              </a:extLst>
            </p:cNvPr>
            <p:cNvSpPr/>
            <p:nvPr userDrawn="1"/>
          </p:nvSpPr>
          <p:spPr>
            <a:xfrm>
              <a:off x="11233425" y="2272614"/>
              <a:ext cx="135606" cy="135621"/>
            </a:xfrm>
            <a:custGeom>
              <a:avLst/>
              <a:gdLst>
                <a:gd name="connsiteX0" fmla="*/ 72035 w 135606"/>
                <a:gd name="connsiteY0" fmla="*/ 134 h 135621"/>
                <a:gd name="connsiteX1" fmla="*/ 118737 w 135606"/>
                <a:gd name="connsiteY1" fmla="*/ 22860 h 135621"/>
                <a:gd name="connsiteX2" fmla="*/ 112816 w 135606"/>
                <a:gd name="connsiteY2" fmla="*/ 118707 h 135621"/>
                <a:gd name="connsiteX3" fmla="*/ 16969 w 135606"/>
                <a:gd name="connsiteY3" fmla="*/ 112786 h 135621"/>
                <a:gd name="connsiteX4" fmla="*/ 22890 w 135606"/>
                <a:gd name="connsiteY4" fmla="*/ 16939 h 135621"/>
                <a:gd name="connsiteX5" fmla="*/ 72035 w 135606"/>
                <a:gd name="connsiteY5" fmla="*/ 134 h 135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5606" h="135621">
                  <a:moveTo>
                    <a:pt x="72035" y="134"/>
                  </a:moveTo>
                  <a:cubicBezTo>
                    <a:pt x="90041" y="1246"/>
                    <a:pt x="106663" y="9340"/>
                    <a:pt x="118737" y="22860"/>
                  </a:cubicBezTo>
                  <a:cubicBezTo>
                    <a:pt x="143371" y="50881"/>
                    <a:pt x="140711" y="93931"/>
                    <a:pt x="112816" y="118707"/>
                  </a:cubicBezTo>
                  <a:cubicBezTo>
                    <a:pt x="84795" y="143339"/>
                    <a:pt x="41737" y="140816"/>
                    <a:pt x="16969" y="112786"/>
                  </a:cubicBezTo>
                  <a:cubicBezTo>
                    <a:pt x="-7799" y="84757"/>
                    <a:pt x="-5139" y="41707"/>
                    <a:pt x="22890" y="16939"/>
                  </a:cubicBezTo>
                  <a:cubicBezTo>
                    <a:pt x="36538" y="5008"/>
                    <a:pt x="53894" y="-987"/>
                    <a:pt x="72035" y="13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A013B1B6-F1D5-4994-9CCF-E586D514EC51}"/>
                </a:ext>
              </a:extLst>
            </p:cNvPr>
            <p:cNvSpPr/>
            <p:nvPr userDrawn="1"/>
          </p:nvSpPr>
          <p:spPr>
            <a:xfrm>
              <a:off x="10518159" y="2429220"/>
              <a:ext cx="240986" cy="148837"/>
            </a:xfrm>
            <a:custGeom>
              <a:avLst/>
              <a:gdLst>
                <a:gd name="connsiteX0" fmla="*/ 240986 w 240986"/>
                <a:gd name="connsiteY0" fmla="*/ 31 h 148837"/>
                <a:gd name="connsiteX1" fmla="*/ 172815 w 240986"/>
                <a:gd name="connsiteY1" fmla="*/ 148837 h 148837"/>
                <a:gd name="connsiteX2" fmla="*/ 0 w 240986"/>
                <a:gd name="connsiteY2" fmla="*/ 97528 h 148837"/>
                <a:gd name="connsiteX3" fmla="*/ 240986 w 240986"/>
                <a:gd name="connsiteY3" fmla="*/ 31 h 148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0986" h="148837">
                  <a:moveTo>
                    <a:pt x="240986" y="31"/>
                  </a:moveTo>
                  <a:cubicBezTo>
                    <a:pt x="214345" y="50704"/>
                    <a:pt x="191910" y="101502"/>
                    <a:pt x="172815" y="148837"/>
                  </a:cubicBezTo>
                  <a:lnTo>
                    <a:pt x="0" y="97528"/>
                  </a:lnTo>
                  <a:cubicBezTo>
                    <a:pt x="49409" y="58861"/>
                    <a:pt x="142831" y="-1548"/>
                    <a:pt x="240986" y="3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7D524F96-419D-4129-9C03-1DEB64A59A21}"/>
                </a:ext>
              </a:extLst>
            </p:cNvPr>
            <p:cNvSpPr/>
            <p:nvPr userDrawn="1"/>
          </p:nvSpPr>
          <p:spPr>
            <a:xfrm>
              <a:off x="10556270" y="2651013"/>
              <a:ext cx="363263" cy="348643"/>
            </a:xfrm>
            <a:custGeom>
              <a:avLst/>
              <a:gdLst>
                <a:gd name="connsiteX0" fmla="*/ 147592 w 363263"/>
                <a:gd name="connsiteY0" fmla="*/ 0 h 348643"/>
                <a:gd name="connsiteX1" fmla="*/ 363263 w 363263"/>
                <a:gd name="connsiteY1" fmla="*/ 244072 h 348643"/>
                <a:gd name="connsiteX2" fmla="*/ 302182 w 363263"/>
                <a:gd name="connsiteY2" fmla="*/ 297919 h 348643"/>
                <a:gd name="connsiteX3" fmla="*/ 255440 w 363263"/>
                <a:gd name="connsiteY3" fmla="*/ 245022 h 348643"/>
                <a:gd name="connsiteX4" fmla="*/ 235348 w 363263"/>
                <a:gd name="connsiteY4" fmla="*/ 235899 h 348643"/>
                <a:gd name="connsiteX5" fmla="*/ 214955 w 363263"/>
                <a:gd name="connsiteY5" fmla="*/ 244831 h 348643"/>
                <a:gd name="connsiteX6" fmla="*/ 183825 w 363263"/>
                <a:gd name="connsiteY6" fmla="*/ 275795 h 348643"/>
                <a:gd name="connsiteX7" fmla="*/ 0 w 363263"/>
                <a:gd name="connsiteY7" fmla="*/ 347741 h 348643"/>
                <a:gd name="connsiteX8" fmla="*/ 94026 w 363263"/>
                <a:gd name="connsiteY8" fmla="*/ 174169 h 348643"/>
                <a:gd name="connsiteX9" fmla="*/ 128594 w 363263"/>
                <a:gd name="connsiteY9" fmla="*/ 146951 h 348643"/>
                <a:gd name="connsiteX10" fmla="*/ 139959 w 363263"/>
                <a:gd name="connsiteY10" fmla="*/ 127949 h 348643"/>
                <a:gd name="connsiteX11" fmla="*/ 133378 w 363263"/>
                <a:gd name="connsiteY11" fmla="*/ 106887 h 348643"/>
                <a:gd name="connsiteX12" fmla="*/ 86637 w 363263"/>
                <a:gd name="connsiteY12" fmla="*/ 53990 h 348643"/>
                <a:gd name="connsiteX13" fmla="*/ 147592 w 363263"/>
                <a:gd name="connsiteY13" fmla="*/ 0 h 348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63263" h="348643">
                  <a:moveTo>
                    <a:pt x="147592" y="0"/>
                  </a:moveTo>
                  <a:lnTo>
                    <a:pt x="363263" y="244072"/>
                  </a:lnTo>
                  <a:lnTo>
                    <a:pt x="302182" y="297919"/>
                  </a:lnTo>
                  <a:lnTo>
                    <a:pt x="255440" y="245022"/>
                  </a:lnTo>
                  <a:cubicBezTo>
                    <a:pt x="250359" y="239272"/>
                    <a:pt x="243089" y="235969"/>
                    <a:pt x="235348" y="235899"/>
                  </a:cubicBezTo>
                  <a:cubicBezTo>
                    <a:pt x="227606" y="235828"/>
                    <a:pt x="220205" y="239040"/>
                    <a:pt x="214955" y="244831"/>
                  </a:cubicBezTo>
                  <a:cubicBezTo>
                    <a:pt x="204886" y="256032"/>
                    <a:pt x="194461" y="266395"/>
                    <a:pt x="183825" y="275795"/>
                  </a:cubicBezTo>
                  <a:cubicBezTo>
                    <a:pt x="126041" y="326854"/>
                    <a:pt x="56141" y="354064"/>
                    <a:pt x="0" y="347741"/>
                  </a:cubicBezTo>
                  <a:cubicBezTo>
                    <a:pt x="907" y="291266"/>
                    <a:pt x="36242" y="225230"/>
                    <a:pt x="94026" y="174169"/>
                  </a:cubicBezTo>
                  <a:cubicBezTo>
                    <a:pt x="104663" y="164770"/>
                    <a:pt x="116230" y="155700"/>
                    <a:pt x="128594" y="146951"/>
                  </a:cubicBezTo>
                  <a:cubicBezTo>
                    <a:pt x="134978" y="142589"/>
                    <a:pt x="139076" y="135641"/>
                    <a:pt x="139959" y="127949"/>
                  </a:cubicBezTo>
                  <a:cubicBezTo>
                    <a:pt x="140978" y="120266"/>
                    <a:pt x="138459" y="112636"/>
                    <a:pt x="133378" y="106887"/>
                  </a:cubicBezTo>
                  <a:lnTo>
                    <a:pt x="86637" y="53990"/>
                  </a:lnTo>
                  <a:lnTo>
                    <a:pt x="147592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2EF5FA8F-E510-4A8E-AE63-8E22B4C1C60C}"/>
                </a:ext>
              </a:extLst>
            </p:cNvPr>
            <p:cNvSpPr/>
            <p:nvPr userDrawn="1"/>
          </p:nvSpPr>
          <p:spPr>
            <a:xfrm>
              <a:off x="10990348" y="2867518"/>
              <a:ext cx="156065" cy="227151"/>
            </a:xfrm>
            <a:custGeom>
              <a:avLst/>
              <a:gdLst>
                <a:gd name="connsiteX0" fmla="*/ 156065 w 156065"/>
                <a:gd name="connsiteY0" fmla="*/ 0 h 227151"/>
                <a:gd name="connsiteX1" fmla="*/ 29648 w 156065"/>
                <a:gd name="connsiteY1" fmla="*/ 227151 h 227151"/>
                <a:gd name="connsiteX2" fmla="*/ 0 w 156065"/>
                <a:gd name="connsiteY2" fmla="*/ 49337 h 227151"/>
                <a:gd name="connsiteX3" fmla="*/ 156065 w 156065"/>
                <a:gd name="connsiteY3" fmla="*/ 0 h 227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6065" h="227151">
                  <a:moveTo>
                    <a:pt x="156065" y="0"/>
                  </a:moveTo>
                  <a:cubicBezTo>
                    <a:pt x="145686" y="97610"/>
                    <a:pt x="74102" y="182878"/>
                    <a:pt x="29648" y="227151"/>
                  </a:cubicBezTo>
                  <a:lnTo>
                    <a:pt x="0" y="49337"/>
                  </a:lnTo>
                  <a:cubicBezTo>
                    <a:pt x="49326" y="36212"/>
                    <a:pt x="102498" y="20201"/>
                    <a:pt x="15606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8BB2D8C6-FDD6-4E14-9D4B-C91912FA5557}"/>
              </a:ext>
            </a:extLst>
          </p:cNvPr>
          <p:cNvCxnSpPr>
            <a:cxnSpLocks/>
            <a:stCxn id="115" idx="0"/>
          </p:cNvCxnSpPr>
          <p:nvPr userDrawn="1"/>
        </p:nvCxnSpPr>
        <p:spPr>
          <a:xfrm flipV="1">
            <a:off x="1294147" y="4332245"/>
            <a:ext cx="0" cy="297631"/>
          </a:xfrm>
          <a:prstGeom prst="line">
            <a:avLst/>
          </a:prstGeom>
          <a:ln>
            <a:solidFill>
              <a:schemeClr val="tx2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FBE178B8-4A7E-42ED-9A04-53BE94629C13}"/>
              </a:ext>
            </a:extLst>
          </p:cNvPr>
          <p:cNvCxnSpPr>
            <a:cxnSpLocks/>
            <a:stCxn id="118" idx="4"/>
          </p:cNvCxnSpPr>
          <p:nvPr userDrawn="1"/>
        </p:nvCxnSpPr>
        <p:spPr>
          <a:xfrm>
            <a:off x="3026920" y="3900084"/>
            <a:ext cx="0" cy="322929"/>
          </a:xfrm>
          <a:prstGeom prst="line">
            <a:avLst/>
          </a:prstGeom>
          <a:ln>
            <a:solidFill>
              <a:schemeClr val="accent1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Text Placeholder 152">
            <a:extLst>
              <a:ext uri="{FF2B5EF4-FFF2-40B4-BE49-F238E27FC236}">
                <a16:creationId xmlns:a16="http://schemas.microsoft.com/office/drawing/2014/main" id="{057A5396-8CC0-48A7-B43F-8CA1AFC14D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0119" y="4811877"/>
            <a:ext cx="930391" cy="708034"/>
          </a:xfrm>
          <a:prstGeom prst="rect">
            <a:avLst/>
          </a:prstGeom>
        </p:spPr>
        <p:txBody>
          <a:bodyPr lIns="45720" rIns="45720" anchor="ctr">
            <a:noAutofit/>
          </a:bodyPr>
          <a:lstStyle>
            <a:lvl1pPr marL="0" indent="0" algn="ctr" defTabSz="914377" rtl="0" eaLnBrk="1" latinLnBrk="0" hangingPunct="1">
              <a:buNone/>
              <a:defRPr lang="en-US" sz="12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Month/</a:t>
            </a:r>
            <a:br>
              <a:rPr lang="en-US" dirty="0"/>
            </a:br>
            <a:r>
              <a:rPr lang="en-US" dirty="0"/>
              <a:t>Icons</a:t>
            </a:r>
          </a:p>
        </p:txBody>
      </p:sp>
      <p:sp>
        <p:nvSpPr>
          <p:cNvPr id="154" name="Text Placeholder 152">
            <a:extLst>
              <a:ext uri="{FF2B5EF4-FFF2-40B4-BE49-F238E27FC236}">
                <a16:creationId xmlns:a16="http://schemas.microsoft.com/office/drawing/2014/main" id="{74DDF8D9-FADC-4180-8A28-79E0D3B9488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554911" y="3002000"/>
            <a:ext cx="930391" cy="724120"/>
          </a:xfrm>
          <a:prstGeom prst="rect">
            <a:avLst/>
          </a:prstGeom>
        </p:spPr>
        <p:txBody>
          <a:bodyPr lIns="45720" rIns="45720" anchor="ctr">
            <a:noAutofit/>
          </a:bodyPr>
          <a:lstStyle>
            <a:lvl1pPr marL="0" indent="0" algn="ctr" defTabSz="914377" rtl="0" eaLnBrk="1" latinLnBrk="0" hangingPunct="1">
              <a:buNone/>
              <a:defRPr lang="en-US" sz="12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Month/</a:t>
            </a:r>
            <a:br>
              <a:rPr lang="en-US" dirty="0"/>
            </a:br>
            <a:r>
              <a:rPr lang="en-US" dirty="0"/>
              <a:t>Icons</a:t>
            </a:r>
          </a:p>
        </p:txBody>
      </p:sp>
      <p:sp>
        <p:nvSpPr>
          <p:cNvPr id="155" name="Text Placeholder 152">
            <a:extLst>
              <a:ext uri="{FF2B5EF4-FFF2-40B4-BE49-F238E27FC236}">
                <a16:creationId xmlns:a16="http://schemas.microsoft.com/office/drawing/2014/main" id="{5F26BA65-498C-4DF6-AE5D-6EB65C3C87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83405" y="4644047"/>
            <a:ext cx="930391" cy="724120"/>
          </a:xfrm>
          <a:prstGeom prst="rect">
            <a:avLst/>
          </a:prstGeom>
        </p:spPr>
        <p:txBody>
          <a:bodyPr lIns="45720" rIns="45720" anchor="ctr">
            <a:noAutofit/>
          </a:bodyPr>
          <a:lstStyle>
            <a:lvl1pPr marL="0" indent="0" algn="ctr" defTabSz="914377" rtl="0" eaLnBrk="1" latinLnBrk="0" hangingPunct="1">
              <a:buNone/>
              <a:defRPr lang="en-US" sz="12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Month/</a:t>
            </a:r>
            <a:br>
              <a:rPr lang="en-US" dirty="0"/>
            </a:br>
            <a:r>
              <a:rPr lang="en-US" dirty="0"/>
              <a:t>Icons</a:t>
            </a:r>
          </a:p>
        </p:txBody>
      </p:sp>
      <p:sp>
        <p:nvSpPr>
          <p:cNvPr id="156" name="Text Placeholder 152">
            <a:extLst>
              <a:ext uri="{FF2B5EF4-FFF2-40B4-BE49-F238E27FC236}">
                <a16:creationId xmlns:a16="http://schemas.microsoft.com/office/drawing/2014/main" id="{2438E704-BFFD-48B0-B2F9-ED2E0606B10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08506" y="2997174"/>
            <a:ext cx="930391" cy="724120"/>
          </a:xfrm>
          <a:prstGeom prst="rect">
            <a:avLst/>
          </a:prstGeom>
        </p:spPr>
        <p:txBody>
          <a:bodyPr lIns="45720" rIns="45720" anchor="ctr">
            <a:noAutofit/>
          </a:bodyPr>
          <a:lstStyle>
            <a:lvl1pPr marL="0" indent="0" algn="ctr" defTabSz="914377" rtl="0" eaLnBrk="1" latinLnBrk="0" hangingPunct="1">
              <a:buNone/>
              <a:defRPr lang="en-US" sz="12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Month/</a:t>
            </a:r>
            <a:br>
              <a:rPr lang="en-US" dirty="0"/>
            </a:br>
            <a:r>
              <a:rPr lang="en-US" dirty="0"/>
              <a:t>Icons</a:t>
            </a:r>
          </a:p>
        </p:txBody>
      </p:sp>
      <p:sp>
        <p:nvSpPr>
          <p:cNvPr id="157" name="Text Placeholder 152">
            <a:extLst>
              <a:ext uri="{FF2B5EF4-FFF2-40B4-BE49-F238E27FC236}">
                <a16:creationId xmlns:a16="http://schemas.microsoft.com/office/drawing/2014/main" id="{A55C7861-67B9-406B-BAB4-93016741DA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29978" y="4116108"/>
            <a:ext cx="930391" cy="724120"/>
          </a:xfrm>
          <a:prstGeom prst="rect">
            <a:avLst/>
          </a:prstGeom>
        </p:spPr>
        <p:txBody>
          <a:bodyPr lIns="45720" rIns="45720" anchor="ctr">
            <a:noAutofit/>
          </a:bodyPr>
          <a:lstStyle>
            <a:lvl1pPr marL="0" indent="0" algn="ctr" defTabSz="914377" rtl="0" eaLnBrk="1" latinLnBrk="0" hangingPunct="1">
              <a:buNone/>
              <a:defRPr lang="en-US" sz="12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Month/</a:t>
            </a:r>
            <a:br>
              <a:rPr lang="en-US" dirty="0"/>
            </a:br>
            <a:r>
              <a:rPr lang="en-US" dirty="0"/>
              <a:t>Icons</a:t>
            </a:r>
          </a:p>
        </p:txBody>
      </p:sp>
      <p:cxnSp>
        <p:nvCxnSpPr>
          <p:cNvPr id="173" name="Straight Connector 172">
            <a:extLst>
              <a:ext uri="{FF2B5EF4-FFF2-40B4-BE49-F238E27FC236}">
                <a16:creationId xmlns:a16="http://schemas.microsoft.com/office/drawing/2014/main" id="{734CA271-A515-44E0-A9F1-8BBEA3C2AE61}"/>
              </a:ext>
            </a:extLst>
          </p:cNvPr>
          <p:cNvCxnSpPr>
            <a:cxnSpLocks/>
            <a:stCxn id="175" idx="4"/>
          </p:cNvCxnSpPr>
          <p:nvPr userDrawn="1"/>
        </p:nvCxnSpPr>
        <p:spPr>
          <a:xfrm>
            <a:off x="9489005" y="3500656"/>
            <a:ext cx="0" cy="536022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Oval 173">
            <a:extLst>
              <a:ext uri="{FF2B5EF4-FFF2-40B4-BE49-F238E27FC236}">
                <a16:creationId xmlns:a16="http://schemas.microsoft.com/office/drawing/2014/main" id="{1754CA8A-233E-46C9-B8A1-C9C08DC208FF}"/>
              </a:ext>
            </a:extLst>
          </p:cNvPr>
          <p:cNvSpPr/>
          <p:nvPr userDrawn="1"/>
        </p:nvSpPr>
        <p:spPr>
          <a:xfrm>
            <a:off x="8952983" y="2498272"/>
            <a:ext cx="1072044" cy="107204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5" name="Oval 174">
            <a:extLst>
              <a:ext uri="{FF2B5EF4-FFF2-40B4-BE49-F238E27FC236}">
                <a16:creationId xmlns:a16="http://schemas.microsoft.com/office/drawing/2014/main" id="{9FEC5874-F45F-4A10-81E8-9CB47DDA97AC}"/>
              </a:ext>
            </a:extLst>
          </p:cNvPr>
          <p:cNvSpPr/>
          <p:nvPr userDrawn="1"/>
        </p:nvSpPr>
        <p:spPr>
          <a:xfrm>
            <a:off x="9022642" y="2567931"/>
            <a:ext cx="932727" cy="932727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algn="ctr" defTabSz="914377" rtl="0" eaLnBrk="1" latinLnBrk="0" hangingPunct="1"/>
            <a:endParaRPr lang="en-US" sz="1200" b="1" kern="1200" dirty="0">
              <a:solidFill>
                <a:schemeClr val="bg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176" name="Text Placeholder 152">
            <a:extLst>
              <a:ext uri="{FF2B5EF4-FFF2-40B4-BE49-F238E27FC236}">
                <a16:creationId xmlns:a16="http://schemas.microsoft.com/office/drawing/2014/main" id="{DC103AF7-02B1-47BE-B91E-70E2C1326B6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24978" y="2680314"/>
            <a:ext cx="930391" cy="724120"/>
          </a:xfrm>
          <a:prstGeom prst="rect">
            <a:avLst/>
          </a:prstGeom>
        </p:spPr>
        <p:txBody>
          <a:bodyPr lIns="45720" rIns="45720" anchor="ctr">
            <a:noAutofit/>
          </a:bodyPr>
          <a:lstStyle>
            <a:lvl1pPr marL="0" indent="0" algn="ctr" defTabSz="914377" rtl="0" eaLnBrk="1" latinLnBrk="0" hangingPunct="1">
              <a:buNone/>
              <a:defRPr lang="en-US" sz="12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Month/</a:t>
            </a:r>
            <a:br>
              <a:rPr lang="en-US" dirty="0"/>
            </a:br>
            <a:r>
              <a:rPr lang="en-US" dirty="0"/>
              <a:t>Icons</a:t>
            </a:r>
          </a:p>
        </p:txBody>
      </p:sp>
      <p:sp>
        <p:nvSpPr>
          <p:cNvPr id="201" name="Text Placeholder 103">
            <a:extLst>
              <a:ext uri="{FF2B5EF4-FFF2-40B4-BE49-F238E27FC236}">
                <a16:creationId xmlns:a16="http://schemas.microsoft.com/office/drawing/2014/main" id="{43CC1C79-C07D-42A1-916D-D86A973E7AB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7201" y="1798641"/>
            <a:ext cx="1712332" cy="2384255"/>
          </a:xfrm>
          <a:prstGeom prst="rect">
            <a:avLst/>
          </a:prstGeom>
        </p:spPr>
        <p:txBody>
          <a:bodyPr r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200" b="0"/>
            </a:lvl1pPr>
          </a:lstStyle>
          <a:p>
            <a:pPr lvl="0"/>
            <a:r>
              <a:rPr lang="en-US" dirty="0"/>
              <a:t>HEADINGS</a:t>
            </a:r>
          </a:p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</a:t>
            </a:r>
          </a:p>
        </p:txBody>
      </p:sp>
      <p:sp>
        <p:nvSpPr>
          <p:cNvPr id="204" name="Text Placeholder 103">
            <a:extLst>
              <a:ext uri="{FF2B5EF4-FFF2-40B4-BE49-F238E27FC236}">
                <a16:creationId xmlns:a16="http://schemas.microsoft.com/office/drawing/2014/main" id="{05B8E28C-7D88-47AA-9CD3-9DE3E0350D1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964323" y="4332243"/>
            <a:ext cx="2067255" cy="2104952"/>
          </a:xfrm>
          <a:prstGeom prst="rect">
            <a:avLst/>
          </a:prstGeom>
        </p:spPr>
        <p:txBody>
          <a:bodyPr r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200" b="0"/>
            </a:lvl1pPr>
          </a:lstStyle>
          <a:p>
            <a:pPr lvl="0"/>
            <a:r>
              <a:rPr lang="en-US" dirty="0"/>
              <a:t>HEADINGS</a:t>
            </a:r>
          </a:p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</a:t>
            </a:r>
          </a:p>
        </p:txBody>
      </p:sp>
      <p:sp>
        <p:nvSpPr>
          <p:cNvPr id="215" name="Text Placeholder 103">
            <a:extLst>
              <a:ext uri="{FF2B5EF4-FFF2-40B4-BE49-F238E27FC236}">
                <a16:creationId xmlns:a16="http://schemas.microsoft.com/office/drawing/2014/main" id="{26F5EB6A-8CAD-491B-A909-CDD63102F95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00682" y="1798641"/>
            <a:ext cx="1871807" cy="2104953"/>
          </a:xfrm>
          <a:prstGeom prst="rect">
            <a:avLst/>
          </a:prstGeom>
        </p:spPr>
        <p:txBody>
          <a:bodyPr r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200" b="0"/>
            </a:lvl1pPr>
          </a:lstStyle>
          <a:p>
            <a:pPr lvl="0"/>
            <a:r>
              <a:rPr lang="en-US" dirty="0"/>
              <a:t>HEADINGS</a:t>
            </a:r>
          </a:p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</a:t>
            </a:r>
          </a:p>
        </p:txBody>
      </p:sp>
      <p:sp>
        <p:nvSpPr>
          <p:cNvPr id="219" name="Text Placeholder 103">
            <a:extLst>
              <a:ext uri="{FF2B5EF4-FFF2-40B4-BE49-F238E27FC236}">
                <a16:creationId xmlns:a16="http://schemas.microsoft.com/office/drawing/2014/main" id="{1B4E5E6E-E456-4987-A640-104F1770A6E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307807" y="4332242"/>
            <a:ext cx="1781188" cy="2264465"/>
          </a:xfrm>
          <a:prstGeom prst="rect">
            <a:avLst/>
          </a:prstGeom>
        </p:spPr>
        <p:txBody>
          <a:bodyPr r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200" b="0"/>
            </a:lvl1pPr>
          </a:lstStyle>
          <a:p>
            <a:pPr lvl="0"/>
            <a:r>
              <a:rPr lang="en-US" dirty="0"/>
              <a:t>HEADINGS</a:t>
            </a:r>
          </a:p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</a:t>
            </a:r>
          </a:p>
        </p:txBody>
      </p:sp>
      <p:sp>
        <p:nvSpPr>
          <p:cNvPr id="228" name="Text Placeholder 103">
            <a:extLst>
              <a:ext uri="{FF2B5EF4-FFF2-40B4-BE49-F238E27FC236}">
                <a16:creationId xmlns:a16="http://schemas.microsoft.com/office/drawing/2014/main" id="{58880F20-C6E5-4A4E-A858-2125C52ED68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590135" y="4132900"/>
            <a:ext cx="2008340" cy="2080575"/>
          </a:xfrm>
          <a:prstGeom prst="rect">
            <a:avLst/>
          </a:prstGeom>
        </p:spPr>
        <p:txBody>
          <a:bodyPr r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200" b="0"/>
            </a:lvl1pPr>
          </a:lstStyle>
          <a:p>
            <a:pPr lvl="0"/>
            <a:r>
              <a:rPr lang="en-US" dirty="0"/>
              <a:t>HEADINGS</a:t>
            </a:r>
          </a:p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</a:t>
            </a:r>
          </a:p>
        </p:txBody>
      </p:sp>
      <p:sp>
        <p:nvSpPr>
          <p:cNvPr id="230" name="Text Placeholder 103">
            <a:extLst>
              <a:ext uri="{FF2B5EF4-FFF2-40B4-BE49-F238E27FC236}">
                <a16:creationId xmlns:a16="http://schemas.microsoft.com/office/drawing/2014/main" id="{F5789202-4704-4DD2-BC22-C42AA0192BE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721959" y="1757670"/>
            <a:ext cx="2171903" cy="1742986"/>
          </a:xfrm>
          <a:prstGeom prst="rect">
            <a:avLst/>
          </a:prstGeom>
        </p:spPr>
        <p:txBody>
          <a:bodyPr r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200" b="0"/>
            </a:lvl1pPr>
          </a:lstStyle>
          <a:p>
            <a:pPr lvl="0"/>
            <a:r>
              <a:rPr lang="en-US" dirty="0"/>
              <a:t>HEADINGS</a:t>
            </a:r>
          </a:p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57EEE4-3DBE-45C6-8FB3-0EE6BEC067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143267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(5 poi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04FC7C7-2B27-49C4-B9D4-53BFD986A9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04FC7C7-2B27-49C4-B9D4-53BFD986A9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42156EE-4523-4C3B-A50D-CB3AA751463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4400" b="0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7ABC1C1B-4A7F-42F7-967F-7CB7B11EFFE2}"/>
              </a:ext>
            </a:extLst>
          </p:cNvPr>
          <p:cNvCxnSpPr>
            <a:cxnSpLocks/>
          </p:cNvCxnSpPr>
          <p:nvPr userDrawn="1"/>
        </p:nvCxnSpPr>
        <p:spPr>
          <a:xfrm flipV="1">
            <a:off x="9068881" y="3596983"/>
            <a:ext cx="1591435" cy="115984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3D517BDF-A027-4FFB-935F-1729F69A99EF}"/>
              </a:ext>
            </a:extLst>
          </p:cNvPr>
          <p:cNvCxnSpPr>
            <a:cxnSpLocks/>
            <a:stCxn id="33" idx="0"/>
          </p:cNvCxnSpPr>
          <p:nvPr userDrawn="1"/>
        </p:nvCxnSpPr>
        <p:spPr>
          <a:xfrm flipH="1" flipV="1">
            <a:off x="8822988" y="4123728"/>
            <a:ext cx="1" cy="365661"/>
          </a:xfrm>
          <a:prstGeom prst="line">
            <a:avLst/>
          </a:prstGeom>
          <a:ln>
            <a:solidFill>
              <a:schemeClr val="accent4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4CA10B20-3E7A-4102-9DF2-9D24D039B6EF}"/>
              </a:ext>
            </a:extLst>
          </p:cNvPr>
          <p:cNvCxnSpPr>
            <a:cxnSpLocks/>
          </p:cNvCxnSpPr>
          <p:nvPr userDrawn="1"/>
        </p:nvCxnSpPr>
        <p:spPr>
          <a:xfrm>
            <a:off x="6752628" y="3961322"/>
            <a:ext cx="0" cy="443038"/>
          </a:xfrm>
          <a:prstGeom prst="line">
            <a:avLst/>
          </a:prstGeom>
          <a:ln>
            <a:solidFill>
              <a:schemeClr val="accent3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A336E55D-4DC7-4DC3-A9DC-121C7571B580}"/>
              </a:ext>
            </a:extLst>
          </p:cNvPr>
          <p:cNvCxnSpPr>
            <a:cxnSpLocks/>
            <a:stCxn id="31" idx="0"/>
          </p:cNvCxnSpPr>
          <p:nvPr userDrawn="1"/>
        </p:nvCxnSpPr>
        <p:spPr>
          <a:xfrm flipV="1">
            <a:off x="4884947" y="3870054"/>
            <a:ext cx="0" cy="462190"/>
          </a:xfrm>
          <a:prstGeom prst="line">
            <a:avLst/>
          </a:prstGeom>
          <a:ln>
            <a:solidFill>
              <a:schemeClr val="accent2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6EDC0828-0FBD-4BBB-9861-6D4B6073E039}"/>
              </a:ext>
            </a:extLst>
          </p:cNvPr>
          <p:cNvCxnSpPr>
            <a:cxnSpLocks/>
          </p:cNvCxnSpPr>
          <p:nvPr userDrawn="1"/>
        </p:nvCxnSpPr>
        <p:spPr>
          <a:xfrm>
            <a:off x="7071068" y="3641545"/>
            <a:ext cx="1301205" cy="101800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212B3A4A-9BDA-4DEE-A3DF-8C8E7C864259}"/>
              </a:ext>
            </a:extLst>
          </p:cNvPr>
          <p:cNvCxnSpPr>
            <a:cxnSpLocks/>
            <a:stCxn id="31" idx="7"/>
          </p:cNvCxnSpPr>
          <p:nvPr userDrawn="1"/>
        </p:nvCxnSpPr>
        <p:spPr>
          <a:xfrm flipV="1">
            <a:off x="5214717" y="3660107"/>
            <a:ext cx="1172423" cy="808732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AE1ECBA3-E286-4CC6-913E-0F5574CE3CBF}"/>
              </a:ext>
            </a:extLst>
          </p:cNvPr>
          <p:cNvCxnSpPr>
            <a:cxnSpLocks/>
            <a:stCxn id="118" idx="5"/>
          </p:cNvCxnSpPr>
          <p:nvPr userDrawn="1"/>
        </p:nvCxnSpPr>
        <p:spPr>
          <a:xfrm>
            <a:off x="3593687" y="3810121"/>
            <a:ext cx="891084" cy="626426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00CAA7EB-0222-431B-958A-116809616450}"/>
              </a:ext>
            </a:extLst>
          </p:cNvPr>
          <p:cNvCxnSpPr>
            <a:cxnSpLocks/>
            <a:endCxn id="118" idx="3"/>
          </p:cNvCxnSpPr>
          <p:nvPr userDrawn="1"/>
        </p:nvCxnSpPr>
        <p:spPr>
          <a:xfrm flipV="1">
            <a:off x="1661161" y="3810123"/>
            <a:ext cx="1174476" cy="1074299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Oval 114">
            <a:extLst>
              <a:ext uri="{FF2B5EF4-FFF2-40B4-BE49-F238E27FC236}">
                <a16:creationId xmlns:a16="http://schemas.microsoft.com/office/drawing/2014/main" id="{CAAC4C57-9573-41F5-9777-1E2281AB93B6}"/>
              </a:ext>
            </a:extLst>
          </p:cNvPr>
          <p:cNvSpPr/>
          <p:nvPr userDrawn="1"/>
        </p:nvSpPr>
        <p:spPr>
          <a:xfrm>
            <a:off x="861299" y="4798606"/>
            <a:ext cx="1072044" cy="107204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2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6" name="Oval 115">
            <a:extLst>
              <a:ext uri="{FF2B5EF4-FFF2-40B4-BE49-F238E27FC236}">
                <a16:creationId xmlns:a16="http://schemas.microsoft.com/office/drawing/2014/main" id="{03C96F7D-7E97-432E-AE63-F5BF782C7ACC}"/>
              </a:ext>
            </a:extLst>
          </p:cNvPr>
          <p:cNvSpPr/>
          <p:nvPr userDrawn="1"/>
        </p:nvSpPr>
        <p:spPr>
          <a:xfrm>
            <a:off x="4348926" y="4262587"/>
            <a:ext cx="1072044" cy="107204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7" name="Oval 116">
            <a:extLst>
              <a:ext uri="{FF2B5EF4-FFF2-40B4-BE49-F238E27FC236}">
                <a16:creationId xmlns:a16="http://schemas.microsoft.com/office/drawing/2014/main" id="{DB4E5038-1A7D-4746-B320-495220E62B5E}"/>
              </a:ext>
            </a:extLst>
          </p:cNvPr>
          <p:cNvSpPr/>
          <p:nvPr userDrawn="1"/>
        </p:nvSpPr>
        <p:spPr>
          <a:xfrm>
            <a:off x="8286966" y="4419730"/>
            <a:ext cx="1072044" cy="107204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8" name="Oval 117">
            <a:extLst>
              <a:ext uri="{FF2B5EF4-FFF2-40B4-BE49-F238E27FC236}">
                <a16:creationId xmlns:a16="http://schemas.microsoft.com/office/drawing/2014/main" id="{C1C463EA-2EFE-4E79-A2CD-73F7CC421407}"/>
              </a:ext>
            </a:extLst>
          </p:cNvPr>
          <p:cNvSpPr/>
          <p:nvPr userDrawn="1"/>
        </p:nvSpPr>
        <p:spPr>
          <a:xfrm>
            <a:off x="2678639" y="2895076"/>
            <a:ext cx="1072044" cy="107204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9" name="Oval 118">
            <a:extLst>
              <a:ext uri="{FF2B5EF4-FFF2-40B4-BE49-F238E27FC236}">
                <a16:creationId xmlns:a16="http://schemas.microsoft.com/office/drawing/2014/main" id="{DAB0A538-A15A-4E4F-B6CB-688456BA2515}"/>
              </a:ext>
            </a:extLst>
          </p:cNvPr>
          <p:cNvSpPr/>
          <p:nvPr userDrawn="1"/>
        </p:nvSpPr>
        <p:spPr>
          <a:xfrm>
            <a:off x="6186847" y="2964636"/>
            <a:ext cx="1072044" cy="107204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53BC7FD3-A08C-4505-AF32-8DB519310FAB}"/>
              </a:ext>
            </a:extLst>
          </p:cNvPr>
          <p:cNvSpPr/>
          <p:nvPr userDrawn="1"/>
        </p:nvSpPr>
        <p:spPr>
          <a:xfrm>
            <a:off x="930958" y="4868265"/>
            <a:ext cx="932727" cy="93272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2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37432155-3866-467D-93AC-B907FBEFA173}"/>
              </a:ext>
            </a:extLst>
          </p:cNvPr>
          <p:cNvSpPr/>
          <p:nvPr userDrawn="1"/>
        </p:nvSpPr>
        <p:spPr>
          <a:xfrm>
            <a:off x="4418585" y="4332246"/>
            <a:ext cx="932727" cy="93272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algn="ctr" defTabSz="914377" rtl="0" eaLnBrk="1" latinLnBrk="0" hangingPunct="1"/>
            <a:endParaRPr lang="en-US" sz="1200" b="1" kern="1200" dirty="0">
              <a:solidFill>
                <a:schemeClr val="bg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AC25CB83-9C7E-45DD-AED6-6EA64698027A}"/>
              </a:ext>
            </a:extLst>
          </p:cNvPr>
          <p:cNvSpPr/>
          <p:nvPr userDrawn="1"/>
        </p:nvSpPr>
        <p:spPr>
          <a:xfrm>
            <a:off x="8356625" y="4489389"/>
            <a:ext cx="932727" cy="932727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algn="ctr" defTabSz="914377" rtl="0" eaLnBrk="1" latinLnBrk="0" hangingPunct="1"/>
            <a:endParaRPr lang="en-US" sz="1200" b="1" kern="1200" dirty="0">
              <a:solidFill>
                <a:schemeClr val="bg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E6C7CB3C-82EF-46DF-BBD9-CB2E11BD6BD1}"/>
              </a:ext>
            </a:extLst>
          </p:cNvPr>
          <p:cNvSpPr/>
          <p:nvPr userDrawn="1"/>
        </p:nvSpPr>
        <p:spPr>
          <a:xfrm>
            <a:off x="2748298" y="2964735"/>
            <a:ext cx="932727" cy="93272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algn="ctr" defTabSz="914377" rtl="0" eaLnBrk="1" latinLnBrk="0" hangingPunct="1"/>
            <a:endParaRPr lang="en-US" sz="1200" b="1" kern="1200" dirty="0">
              <a:solidFill>
                <a:schemeClr val="bg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1B18C326-BB3C-4FBC-A2CA-9BBFB4BD8663}"/>
              </a:ext>
            </a:extLst>
          </p:cNvPr>
          <p:cNvSpPr/>
          <p:nvPr userDrawn="1"/>
        </p:nvSpPr>
        <p:spPr>
          <a:xfrm>
            <a:off x="6256506" y="3034295"/>
            <a:ext cx="932727" cy="932727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algn="ctr" defTabSz="914377" rtl="0" eaLnBrk="1" latinLnBrk="0" hangingPunct="1"/>
            <a:endParaRPr lang="en-US" sz="1200" b="1" kern="1200" dirty="0">
              <a:solidFill>
                <a:schemeClr val="bg1"/>
              </a:solidFill>
              <a:latin typeface="+mj-lt"/>
              <a:ea typeface="+mn-ea"/>
              <a:cs typeface="+mn-cs"/>
            </a:endParaRP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1BC990BB-9681-4EFB-B9CA-B7BB7F5E5F9B}"/>
              </a:ext>
            </a:extLst>
          </p:cNvPr>
          <p:cNvGrpSpPr/>
          <p:nvPr userDrawn="1"/>
        </p:nvGrpSpPr>
        <p:grpSpPr>
          <a:xfrm>
            <a:off x="10605521" y="2687736"/>
            <a:ext cx="1124809" cy="1067384"/>
            <a:chOff x="10518159" y="2027285"/>
            <a:chExt cx="1124809" cy="1067384"/>
          </a:xfrm>
        </p:grpSpPr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8D7BF13F-2EA2-4865-84E8-41C27A00C8B0}"/>
                </a:ext>
              </a:extLst>
            </p:cNvPr>
            <p:cNvSpPr/>
            <p:nvPr userDrawn="1"/>
          </p:nvSpPr>
          <p:spPr>
            <a:xfrm>
              <a:off x="11460489" y="2027285"/>
              <a:ext cx="182479" cy="193482"/>
            </a:xfrm>
            <a:custGeom>
              <a:avLst/>
              <a:gdLst>
                <a:gd name="connsiteX0" fmla="*/ 95144 w 182479"/>
                <a:gd name="connsiteY0" fmla="*/ 1443 h 193482"/>
                <a:gd name="connsiteX1" fmla="*/ 180163 w 182479"/>
                <a:gd name="connsiteY1" fmla="*/ 13269 h 193482"/>
                <a:gd name="connsiteX2" fmla="*/ 169438 w 182479"/>
                <a:gd name="connsiteY2" fmla="*/ 193482 h 193482"/>
                <a:gd name="connsiteX3" fmla="*/ 0 w 182479"/>
                <a:gd name="connsiteY3" fmla="*/ 1731 h 193482"/>
                <a:gd name="connsiteX4" fmla="*/ 95144 w 182479"/>
                <a:gd name="connsiteY4" fmla="*/ 1443 h 193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2479" h="193482">
                  <a:moveTo>
                    <a:pt x="95144" y="1443"/>
                  </a:moveTo>
                  <a:cubicBezTo>
                    <a:pt x="125360" y="3428"/>
                    <a:pt x="153888" y="7433"/>
                    <a:pt x="180163" y="13269"/>
                  </a:cubicBezTo>
                  <a:cubicBezTo>
                    <a:pt x="185278" y="66856"/>
                    <a:pt x="182015" y="128486"/>
                    <a:pt x="169438" y="193482"/>
                  </a:cubicBezTo>
                  <a:lnTo>
                    <a:pt x="0" y="1731"/>
                  </a:lnTo>
                  <a:cubicBezTo>
                    <a:pt x="33025" y="-510"/>
                    <a:pt x="64928" y="-543"/>
                    <a:pt x="95144" y="144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21106443-FBE3-4073-B7CE-86075326EC86}"/>
                </a:ext>
              </a:extLst>
            </p:cNvPr>
            <p:cNvSpPr/>
            <p:nvPr userDrawn="1"/>
          </p:nvSpPr>
          <p:spPr>
            <a:xfrm>
              <a:off x="10737681" y="2036222"/>
              <a:ext cx="876978" cy="830680"/>
            </a:xfrm>
            <a:custGeom>
              <a:avLst/>
              <a:gdLst>
                <a:gd name="connsiteX0" fmla="*/ 656861 w 876978"/>
                <a:gd name="connsiteY0" fmla="*/ 0 h 830680"/>
                <a:gd name="connsiteX1" fmla="*/ 876978 w 876978"/>
                <a:gd name="connsiteY1" fmla="*/ 249103 h 830680"/>
                <a:gd name="connsiteX2" fmla="*/ 631155 w 876978"/>
                <a:gd name="connsiteY2" fmla="*/ 642689 h 830680"/>
                <a:gd name="connsiteX3" fmla="*/ 229388 w 876978"/>
                <a:gd name="connsiteY3" fmla="*/ 830680 h 830680"/>
                <a:gd name="connsiteX4" fmla="*/ 0 w 876978"/>
                <a:gd name="connsiteY4" fmla="*/ 571083 h 830680"/>
                <a:gd name="connsiteX5" fmla="*/ 236013 w 876978"/>
                <a:gd name="connsiteY5" fmla="*/ 195510 h 830680"/>
                <a:gd name="connsiteX6" fmla="*/ 656861 w 876978"/>
                <a:gd name="connsiteY6" fmla="*/ 0 h 830680"/>
                <a:gd name="connsiteX7" fmla="*/ 571124 w 876978"/>
                <a:gd name="connsiteY7" fmla="*/ 182374 h 830680"/>
                <a:gd name="connsiteX8" fmla="*/ 482816 w 876978"/>
                <a:gd name="connsiteY8" fmla="*/ 212794 h 830680"/>
                <a:gd name="connsiteX9" fmla="*/ 472178 w 876978"/>
                <a:gd name="connsiteY9" fmla="*/ 384995 h 830680"/>
                <a:gd name="connsiteX10" fmla="*/ 556070 w 876978"/>
                <a:gd name="connsiteY10" fmla="*/ 426054 h 830680"/>
                <a:gd name="connsiteX11" fmla="*/ 644379 w 876978"/>
                <a:gd name="connsiteY11" fmla="*/ 395633 h 830680"/>
                <a:gd name="connsiteX12" fmla="*/ 655017 w 876978"/>
                <a:gd name="connsiteY12" fmla="*/ 223432 h 830680"/>
                <a:gd name="connsiteX13" fmla="*/ 571124 w 876978"/>
                <a:gd name="connsiteY13" fmla="*/ 182374 h 830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76978" h="830680">
                  <a:moveTo>
                    <a:pt x="656861" y="0"/>
                  </a:moveTo>
                  <a:lnTo>
                    <a:pt x="876978" y="249103"/>
                  </a:lnTo>
                  <a:cubicBezTo>
                    <a:pt x="838681" y="385078"/>
                    <a:pt x="759947" y="528883"/>
                    <a:pt x="631155" y="642689"/>
                  </a:cubicBezTo>
                  <a:cubicBezTo>
                    <a:pt x="514869" y="745443"/>
                    <a:pt x="349568" y="799102"/>
                    <a:pt x="229388" y="830680"/>
                  </a:cubicBezTo>
                  <a:lnTo>
                    <a:pt x="0" y="571083"/>
                  </a:lnTo>
                  <a:cubicBezTo>
                    <a:pt x="46129" y="455705"/>
                    <a:pt x="119726" y="298264"/>
                    <a:pt x="236013" y="195510"/>
                  </a:cubicBezTo>
                  <a:cubicBezTo>
                    <a:pt x="364805" y="81704"/>
                    <a:pt x="517198" y="21405"/>
                    <a:pt x="656861" y="0"/>
                  </a:cubicBezTo>
                  <a:close/>
                  <a:moveTo>
                    <a:pt x="571124" y="182374"/>
                  </a:moveTo>
                  <a:cubicBezTo>
                    <a:pt x="538634" y="180367"/>
                    <a:pt x="507117" y="191193"/>
                    <a:pt x="482816" y="212794"/>
                  </a:cubicBezTo>
                  <a:cubicBezTo>
                    <a:pt x="432363" y="257377"/>
                    <a:pt x="427588" y="334678"/>
                    <a:pt x="472178" y="384995"/>
                  </a:cubicBezTo>
                  <a:cubicBezTo>
                    <a:pt x="494397" y="410285"/>
                    <a:pt x="524798" y="424122"/>
                    <a:pt x="556070" y="426054"/>
                  </a:cubicBezTo>
                  <a:cubicBezTo>
                    <a:pt x="587208" y="427977"/>
                    <a:pt x="619215" y="417996"/>
                    <a:pt x="644379" y="395633"/>
                  </a:cubicBezTo>
                  <a:cubicBezTo>
                    <a:pt x="694824" y="351187"/>
                    <a:pt x="699599" y="273886"/>
                    <a:pt x="655017" y="223432"/>
                  </a:cubicBezTo>
                  <a:cubicBezTo>
                    <a:pt x="633425" y="198996"/>
                    <a:pt x="603615" y="184381"/>
                    <a:pt x="571124" y="18237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09DA275D-4522-40A8-8DA5-7EC8C104A12C}"/>
                </a:ext>
              </a:extLst>
            </p:cNvPr>
            <p:cNvSpPr/>
            <p:nvPr userDrawn="1"/>
          </p:nvSpPr>
          <p:spPr>
            <a:xfrm>
              <a:off x="11233425" y="2272614"/>
              <a:ext cx="135606" cy="135621"/>
            </a:xfrm>
            <a:custGeom>
              <a:avLst/>
              <a:gdLst>
                <a:gd name="connsiteX0" fmla="*/ 72035 w 135606"/>
                <a:gd name="connsiteY0" fmla="*/ 134 h 135621"/>
                <a:gd name="connsiteX1" fmla="*/ 118737 w 135606"/>
                <a:gd name="connsiteY1" fmla="*/ 22860 h 135621"/>
                <a:gd name="connsiteX2" fmla="*/ 112816 w 135606"/>
                <a:gd name="connsiteY2" fmla="*/ 118707 h 135621"/>
                <a:gd name="connsiteX3" fmla="*/ 16969 w 135606"/>
                <a:gd name="connsiteY3" fmla="*/ 112786 h 135621"/>
                <a:gd name="connsiteX4" fmla="*/ 22890 w 135606"/>
                <a:gd name="connsiteY4" fmla="*/ 16939 h 135621"/>
                <a:gd name="connsiteX5" fmla="*/ 72035 w 135606"/>
                <a:gd name="connsiteY5" fmla="*/ 134 h 135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5606" h="135621">
                  <a:moveTo>
                    <a:pt x="72035" y="134"/>
                  </a:moveTo>
                  <a:cubicBezTo>
                    <a:pt x="90041" y="1246"/>
                    <a:pt x="106663" y="9340"/>
                    <a:pt x="118737" y="22860"/>
                  </a:cubicBezTo>
                  <a:cubicBezTo>
                    <a:pt x="143371" y="50881"/>
                    <a:pt x="140711" y="93931"/>
                    <a:pt x="112816" y="118707"/>
                  </a:cubicBezTo>
                  <a:cubicBezTo>
                    <a:pt x="84795" y="143339"/>
                    <a:pt x="41737" y="140816"/>
                    <a:pt x="16969" y="112786"/>
                  </a:cubicBezTo>
                  <a:cubicBezTo>
                    <a:pt x="-7799" y="84757"/>
                    <a:pt x="-5139" y="41707"/>
                    <a:pt x="22890" y="16939"/>
                  </a:cubicBezTo>
                  <a:cubicBezTo>
                    <a:pt x="36538" y="5008"/>
                    <a:pt x="53894" y="-987"/>
                    <a:pt x="72035" y="13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A013B1B6-F1D5-4994-9CCF-E586D514EC51}"/>
                </a:ext>
              </a:extLst>
            </p:cNvPr>
            <p:cNvSpPr/>
            <p:nvPr userDrawn="1"/>
          </p:nvSpPr>
          <p:spPr>
            <a:xfrm>
              <a:off x="10518159" y="2429220"/>
              <a:ext cx="240986" cy="148837"/>
            </a:xfrm>
            <a:custGeom>
              <a:avLst/>
              <a:gdLst>
                <a:gd name="connsiteX0" fmla="*/ 240986 w 240986"/>
                <a:gd name="connsiteY0" fmla="*/ 31 h 148837"/>
                <a:gd name="connsiteX1" fmla="*/ 172815 w 240986"/>
                <a:gd name="connsiteY1" fmla="*/ 148837 h 148837"/>
                <a:gd name="connsiteX2" fmla="*/ 0 w 240986"/>
                <a:gd name="connsiteY2" fmla="*/ 97528 h 148837"/>
                <a:gd name="connsiteX3" fmla="*/ 240986 w 240986"/>
                <a:gd name="connsiteY3" fmla="*/ 31 h 148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0986" h="148837">
                  <a:moveTo>
                    <a:pt x="240986" y="31"/>
                  </a:moveTo>
                  <a:cubicBezTo>
                    <a:pt x="214345" y="50704"/>
                    <a:pt x="191910" y="101502"/>
                    <a:pt x="172815" y="148837"/>
                  </a:cubicBezTo>
                  <a:lnTo>
                    <a:pt x="0" y="97528"/>
                  </a:lnTo>
                  <a:cubicBezTo>
                    <a:pt x="49409" y="58861"/>
                    <a:pt x="142831" y="-1548"/>
                    <a:pt x="240986" y="3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7D524F96-419D-4129-9C03-1DEB64A59A21}"/>
                </a:ext>
              </a:extLst>
            </p:cNvPr>
            <p:cNvSpPr/>
            <p:nvPr userDrawn="1"/>
          </p:nvSpPr>
          <p:spPr>
            <a:xfrm>
              <a:off x="10556270" y="2651013"/>
              <a:ext cx="363263" cy="348643"/>
            </a:xfrm>
            <a:custGeom>
              <a:avLst/>
              <a:gdLst>
                <a:gd name="connsiteX0" fmla="*/ 147592 w 363263"/>
                <a:gd name="connsiteY0" fmla="*/ 0 h 348643"/>
                <a:gd name="connsiteX1" fmla="*/ 363263 w 363263"/>
                <a:gd name="connsiteY1" fmla="*/ 244072 h 348643"/>
                <a:gd name="connsiteX2" fmla="*/ 302182 w 363263"/>
                <a:gd name="connsiteY2" fmla="*/ 297919 h 348643"/>
                <a:gd name="connsiteX3" fmla="*/ 255440 w 363263"/>
                <a:gd name="connsiteY3" fmla="*/ 245022 h 348643"/>
                <a:gd name="connsiteX4" fmla="*/ 235348 w 363263"/>
                <a:gd name="connsiteY4" fmla="*/ 235899 h 348643"/>
                <a:gd name="connsiteX5" fmla="*/ 214955 w 363263"/>
                <a:gd name="connsiteY5" fmla="*/ 244831 h 348643"/>
                <a:gd name="connsiteX6" fmla="*/ 183825 w 363263"/>
                <a:gd name="connsiteY6" fmla="*/ 275795 h 348643"/>
                <a:gd name="connsiteX7" fmla="*/ 0 w 363263"/>
                <a:gd name="connsiteY7" fmla="*/ 347741 h 348643"/>
                <a:gd name="connsiteX8" fmla="*/ 94026 w 363263"/>
                <a:gd name="connsiteY8" fmla="*/ 174169 h 348643"/>
                <a:gd name="connsiteX9" fmla="*/ 128594 w 363263"/>
                <a:gd name="connsiteY9" fmla="*/ 146951 h 348643"/>
                <a:gd name="connsiteX10" fmla="*/ 139959 w 363263"/>
                <a:gd name="connsiteY10" fmla="*/ 127949 h 348643"/>
                <a:gd name="connsiteX11" fmla="*/ 133378 w 363263"/>
                <a:gd name="connsiteY11" fmla="*/ 106887 h 348643"/>
                <a:gd name="connsiteX12" fmla="*/ 86637 w 363263"/>
                <a:gd name="connsiteY12" fmla="*/ 53990 h 348643"/>
                <a:gd name="connsiteX13" fmla="*/ 147592 w 363263"/>
                <a:gd name="connsiteY13" fmla="*/ 0 h 348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63263" h="348643">
                  <a:moveTo>
                    <a:pt x="147592" y="0"/>
                  </a:moveTo>
                  <a:lnTo>
                    <a:pt x="363263" y="244072"/>
                  </a:lnTo>
                  <a:lnTo>
                    <a:pt x="302182" y="297919"/>
                  </a:lnTo>
                  <a:lnTo>
                    <a:pt x="255440" y="245022"/>
                  </a:lnTo>
                  <a:cubicBezTo>
                    <a:pt x="250359" y="239272"/>
                    <a:pt x="243089" y="235969"/>
                    <a:pt x="235348" y="235899"/>
                  </a:cubicBezTo>
                  <a:cubicBezTo>
                    <a:pt x="227606" y="235828"/>
                    <a:pt x="220205" y="239040"/>
                    <a:pt x="214955" y="244831"/>
                  </a:cubicBezTo>
                  <a:cubicBezTo>
                    <a:pt x="204886" y="256032"/>
                    <a:pt x="194461" y="266395"/>
                    <a:pt x="183825" y="275795"/>
                  </a:cubicBezTo>
                  <a:cubicBezTo>
                    <a:pt x="126041" y="326854"/>
                    <a:pt x="56141" y="354064"/>
                    <a:pt x="0" y="347741"/>
                  </a:cubicBezTo>
                  <a:cubicBezTo>
                    <a:pt x="907" y="291266"/>
                    <a:pt x="36242" y="225230"/>
                    <a:pt x="94026" y="174169"/>
                  </a:cubicBezTo>
                  <a:cubicBezTo>
                    <a:pt x="104663" y="164770"/>
                    <a:pt x="116230" y="155700"/>
                    <a:pt x="128594" y="146951"/>
                  </a:cubicBezTo>
                  <a:cubicBezTo>
                    <a:pt x="134978" y="142589"/>
                    <a:pt x="139076" y="135641"/>
                    <a:pt x="139959" y="127949"/>
                  </a:cubicBezTo>
                  <a:cubicBezTo>
                    <a:pt x="140978" y="120266"/>
                    <a:pt x="138459" y="112636"/>
                    <a:pt x="133378" y="106887"/>
                  </a:cubicBezTo>
                  <a:lnTo>
                    <a:pt x="86637" y="53990"/>
                  </a:lnTo>
                  <a:lnTo>
                    <a:pt x="147592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2EF5FA8F-E510-4A8E-AE63-8E22B4C1C60C}"/>
                </a:ext>
              </a:extLst>
            </p:cNvPr>
            <p:cNvSpPr/>
            <p:nvPr userDrawn="1"/>
          </p:nvSpPr>
          <p:spPr>
            <a:xfrm>
              <a:off x="10990348" y="2867518"/>
              <a:ext cx="156065" cy="227151"/>
            </a:xfrm>
            <a:custGeom>
              <a:avLst/>
              <a:gdLst>
                <a:gd name="connsiteX0" fmla="*/ 156065 w 156065"/>
                <a:gd name="connsiteY0" fmla="*/ 0 h 227151"/>
                <a:gd name="connsiteX1" fmla="*/ 29648 w 156065"/>
                <a:gd name="connsiteY1" fmla="*/ 227151 h 227151"/>
                <a:gd name="connsiteX2" fmla="*/ 0 w 156065"/>
                <a:gd name="connsiteY2" fmla="*/ 49337 h 227151"/>
                <a:gd name="connsiteX3" fmla="*/ 156065 w 156065"/>
                <a:gd name="connsiteY3" fmla="*/ 0 h 227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6065" h="227151">
                  <a:moveTo>
                    <a:pt x="156065" y="0"/>
                  </a:moveTo>
                  <a:cubicBezTo>
                    <a:pt x="145686" y="97610"/>
                    <a:pt x="74102" y="182878"/>
                    <a:pt x="29648" y="227151"/>
                  </a:cubicBezTo>
                  <a:lnTo>
                    <a:pt x="0" y="49337"/>
                  </a:lnTo>
                  <a:cubicBezTo>
                    <a:pt x="49326" y="36212"/>
                    <a:pt x="102498" y="20201"/>
                    <a:pt x="15606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8BB2D8C6-FDD6-4E14-9D4B-C91912FA5557}"/>
              </a:ext>
            </a:extLst>
          </p:cNvPr>
          <p:cNvCxnSpPr>
            <a:cxnSpLocks/>
            <a:stCxn id="115" idx="0"/>
          </p:cNvCxnSpPr>
          <p:nvPr userDrawn="1"/>
        </p:nvCxnSpPr>
        <p:spPr>
          <a:xfrm flipV="1">
            <a:off x="1397321" y="4400695"/>
            <a:ext cx="0" cy="397913"/>
          </a:xfrm>
          <a:prstGeom prst="line">
            <a:avLst/>
          </a:prstGeom>
          <a:ln>
            <a:solidFill>
              <a:schemeClr val="tx2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FBE178B8-4A7E-42ED-9A04-53BE94629C13}"/>
              </a:ext>
            </a:extLst>
          </p:cNvPr>
          <p:cNvCxnSpPr>
            <a:cxnSpLocks/>
            <a:stCxn id="118" idx="4"/>
          </p:cNvCxnSpPr>
          <p:nvPr userDrawn="1"/>
        </p:nvCxnSpPr>
        <p:spPr>
          <a:xfrm>
            <a:off x="3214661" y="3967118"/>
            <a:ext cx="0" cy="443038"/>
          </a:xfrm>
          <a:prstGeom prst="line">
            <a:avLst/>
          </a:prstGeom>
          <a:ln>
            <a:solidFill>
              <a:schemeClr val="accent1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Text Placeholder 152">
            <a:extLst>
              <a:ext uri="{FF2B5EF4-FFF2-40B4-BE49-F238E27FC236}">
                <a16:creationId xmlns:a16="http://schemas.microsoft.com/office/drawing/2014/main" id="{057A5396-8CC0-48A7-B43F-8CA1AFC14D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3294" y="4980609"/>
            <a:ext cx="930391" cy="708034"/>
          </a:xfrm>
          <a:prstGeom prst="rect">
            <a:avLst/>
          </a:prstGeom>
        </p:spPr>
        <p:txBody>
          <a:bodyPr lIns="45720" rIns="45720" anchor="ctr">
            <a:noAutofit/>
          </a:bodyPr>
          <a:lstStyle>
            <a:lvl1pPr marL="0" indent="0" algn="ctr" defTabSz="914377" rtl="0" eaLnBrk="1" latinLnBrk="0" hangingPunct="1">
              <a:buNone/>
              <a:defRPr lang="en-US" sz="12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Month/</a:t>
            </a:r>
            <a:br>
              <a:rPr lang="en-US" dirty="0"/>
            </a:br>
            <a:r>
              <a:rPr lang="en-US" dirty="0"/>
              <a:t>Icons</a:t>
            </a:r>
          </a:p>
        </p:txBody>
      </p:sp>
      <p:sp>
        <p:nvSpPr>
          <p:cNvPr id="154" name="Text Placeholder 152">
            <a:extLst>
              <a:ext uri="{FF2B5EF4-FFF2-40B4-BE49-F238E27FC236}">
                <a16:creationId xmlns:a16="http://schemas.microsoft.com/office/drawing/2014/main" id="{74DDF8D9-FADC-4180-8A28-79E0D3B9488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42652" y="3069036"/>
            <a:ext cx="930391" cy="724120"/>
          </a:xfrm>
          <a:prstGeom prst="rect">
            <a:avLst/>
          </a:prstGeom>
        </p:spPr>
        <p:txBody>
          <a:bodyPr lIns="45720" rIns="45720" anchor="ctr">
            <a:noAutofit/>
          </a:bodyPr>
          <a:lstStyle>
            <a:lvl1pPr marL="0" indent="0" algn="ctr" defTabSz="914377" rtl="0" eaLnBrk="1" latinLnBrk="0" hangingPunct="1">
              <a:buNone/>
              <a:defRPr lang="en-US" sz="12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Month/</a:t>
            </a:r>
            <a:br>
              <a:rPr lang="en-US" dirty="0"/>
            </a:br>
            <a:r>
              <a:rPr lang="en-US" dirty="0"/>
              <a:t>Icons</a:t>
            </a:r>
          </a:p>
        </p:txBody>
      </p:sp>
      <p:sp>
        <p:nvSpPr>
          <p:cNvPr id="155" name="Text Placeholder 152">
            <a:extLst>
              <a:ext uri="{FF2B5EF4-FFF2-40B4-BE49-F238E27FC236}">
                <a16:creationId xmlns:a16="http://schemas.microsoft.com/office/drawing/2014/main" id="{5F26BA65-498C-4DF6-AE5D-6EB65C3C87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21595" y="4436547"/>
            <a:ext cx="930391" cy="724120"/>
          </a:xfrm>
          <a:prstGeom prst="rect">
            <a:avLst/>
          </a:prstGeom>
        </p:spPr>
        <p:txBody>
          <a:bodyPr lIns="45720" rIns="45720" anchor="ctr">
            <a:noAutofit/>
          </a:bodyPr>
          <a:lstStyle>
            <a:lvl1pPr marL="0" indent="0" algn="ctr" defTabSz="914377" rtl="0" eaLnBrk="1" latinLnBrk="0" hangingPunct="1">
              <a:buNone/>
              <a:defRPr lang="en-US" sz="12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Month/</a:t>
            </a:r>
            <a:br>
              <a:rPr lang="en-US" dirty="0"/>
            </a:br>
            <a:r>
              <a:rPr lang="en-US" dirty="0"/>
              <a:t>Icons</a:t>
            </a:r>
          </a:p>
        </p:txBody>
      </p:sp>
      <p:sp>
        <p:nvSpPr>
          <p:cNvPr id="156" name="Text Placeholder 152">
            <a:extLst>
              <a:ext uri="{FF2B5EF4-FFF2-40B4-BE49-F238E27FC236}">
                <a16:creationId xmlns:a16="http://schemas.microsoft.com/office/drawing/2014/main" id="{2438E704-BFFD-48B0-B2F9-ED2E0606B10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57673" y="3138597"/>
            <a:ext cx="930391" cy="724120"/>
          </a:xfrm>
          <a:prstGeom prst="rect">
            <a:avLst/>
          </a:prstGeom>
        </p:spPr>
        <p:txBody>
          <a:bodyPr lIns="45720" rIns="45720" anchor="ctr">
            <a:noAutofit/>
          </a:bodyPr>
          <a:lstStyle>
            <a:lvl1pPr marL="0" indent="0" algn="ctr" defTabSz="914377" rtl="0" eaLnBrk="1" latinLnBrk="0" hangingPunct="1">
              <a:buNone/>
              <a:defRPr lang="en-US" sz="12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Month/</a:t>
            </a:r>
            <a:br>
              <a:rPr lang="en-US" dirty="0"/>
            </a:br>
            <a:r>
              <a:rPr lang="en-US" dirty="0"/>
              <a:t>Icons</a:t>
            </a:r>
          </a:p>
        </p:txBody>
      </p:sp>
      <p:sp>
        <p:nvSpPr>
          <p:cNvPr id="157" name="Text Placeholder 152">
            <a:extLst>
              <a:ext uri="{FF2B5EF4-FFF2-40B4-BE49-F238E27FC236}">
                <a16:creationId xmlns:a16="http://schemas.microsoft.com/office/drawing/2014/main" id="{A55C7861-67B9-406B-BAB4-93016741DA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58961" y="4601772"/>
            <a:ext cx="930391" cy="724120"/>
          </a:xfrm>
          <a:prstGeom prst="rect">
            <a:avLst/>
          </a:prstGeom>
        </p:spPr>
        <p:txBody>
          <a:bodyPr lIns="45720" rIns="45720" anchor="ctr">
            <a:noAutofit/>
          </a:bodyPr>
          <a:lstStyle>
            <a:lvl1pPr marL="0" indent="0" algn="ctr" defTabSz="914377" rtl="0" eaLnBrk="1" latinLnBrk="0" hangingPunct="1">
              <a:buNone/>
              <a:defRPr lang="en-US" sz="12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Month/</a:t>
            </a:r>
            <a:br>
              <a:rPr lang="en-US" dirty="0"/>
            </a:br>
            <a:r>
              <a:rPr lang="en-US" dirty="0"/>
              <a:t>Icons</a:t>
            </a:r>
          </a:p>
        </p:txBody>
      </p: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069386F1-0846-48C6-941E-C97476E7706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7202" y="1798640"/>
            <a:ext cx="1854967" cy="2444533"/>
          </a:xfrm>
          <a:prstGeom prst="rect">
            <a:avLst/>
          </a:prstGeom>
        </p:spPr>
        <p:txBody>
          <a:bodyPr r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200" b="0"/>
            </a:lvl1pPr>
          </a:lstStyle>
          <a:p>
            <a:pPr lvl="0"/>
            <a:r>
              <a:rPr lang="en-US" dirty="0"/>
              <a:t>HEADINGS</a:t>
            </a:r>
          </a:p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</a:t>
            </a:r>
          </a:p>
        </p:txBody>
      </p:sp>
      <p:sp>
        <p:nvSpPr>
          <p:cNvPr id="125" name="Text Placeholder 103">
            <a:extLst>
              <a:ext uri="{FF2B5EF4-FFF2-40B4-BE49-F238E27FC236}">
                <a16:creationId xmlns:a16="http://schemas.microsoft.com/office/drawing/2014/main" id="{532718B5-5F99-4441-8BDE-3BD33BDC709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82151" y="1798640"/>
            <a:ext cx="1970660" cy="2021409"/>
          </a:xfrm>
          <a:prstGeom prst="rect">
            <a:avLst/>
          </a:prstGeom>
        </p:spPr>
        <p:txBody>
          <a:bodyPr r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200" b="0"/>
            </a:lvl1pPr>
          </a:lstStyle>
          <a:p>
            <a:pPr lvl="0"/>
            <a:r>
              <a:rPr lang="en-US" dirty="0"/>
              <a:t>HEADINGS</a:t>
            </a:r>
          </a:p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</a:t>
            </a:r>
          </a:p>
        </p:txBody>
      </p:sp>
      <p:sp>
        <p:nvSpPr>
          <p:cNvPr id="127" name="Text Placeholder 103">
            <a:extLst>
              <a:ext uri="{FF2B5EF4-FFF2-40B4-BE49-F238E27FC236}">
                <a16:creationId xmlns:a16="http://schemas.microsoft.com/office/drawing/2014/main" id="{A9045119-2F11-41D2-910A-3D009E97A90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33530" y="1798640"/>
            <a:ext cx="2177551" cy="2212703"/>
          </a:xfrm>
          <a:prstGeom prst="rect">
            <a:avLst/>
          </a:prstGeom>
        </p:spPr>
        <p:txBody>
          <a:bodyPr r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200" b="0"/>
            </a:lvl1pPr>
          </a:lstStyle>
          <a:p>
            <a:pPr lvl="0"/>
            <a:r>
              <a:rPr lang="en-US" dirty="0"/>
              <a:t>HEADINGS</a:t>
            </a:r>
          </a:p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</a:t>
            </a:r>
          </a:p>
        </p:txBody>
      </p:sp>
      <p:sp>
        <p:nvSpPr>
          <p:cNvPr id="132" name="Text Placeholder 103">
            <a:extLst>
              <a:ext uri="{FF2B5EF4-FFF2-40B4-BE49-F238E27FC236}">
                <a16:creationId xmlns:a16="http://schemas.microsoft.com/office/drawing/2014/main" id="{7E365873-B741-4B0E-9666-4DBF5F130AC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126164" y="4468839"/>
            <a:ext cx="2179136" cy="1748848"/>
          </a:xfrm>
          <a:prstGeom prst="rect">
            <a:avLst/>
          </a:prstGeom>
        </p:spPr>
        <p:txBody>
          <a:bodyPr r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200" b="0"/>
            </a:lvl1pPr>
          </a:lstStyle>
          <a:p>
            <a:pPr lvl="0"/>
            <a:r>
              <a:rPr lang="en-US" dirty="0"/>
              <a:t>HEADINGS</a:t>
            </a:r>
          </a:p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</a:t>
            </a:r>
          </a:p>
        </p:txBody>
      </p:sp>
      <p:sp>
        <p:nvSpPr>
          <p:cNvPr id="133" name="Text Placeholder 103">
            <a:extLst>
              <a:ext uri="{FF2B5EF4-FFF2-40B4-BE49-F238E27FC236}">
                <a16:creationId xmlns:a16="http://schemas.microsoft.com/office/drawing/2014/main" id="{A395CC7C-226C-4AE5-B23B-4EC71013704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78368" y="4468839"/>
            <a:ext cx="2458193" cy="1748848"/>
          </a:xfrm>
          <a:prstGeom prst="rect">
            <a:avLst/>
          </a:prstGeom>
        </p:spPr>
        <p:txBody>
          <a:bodyPr r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200" b="0"/>
            </a:lvl1pPr>
          </a:lstStyle>
          <a:p>
            <a:pPr lvl="0"/>
            <a:r>
              <a:rPr lang="en-US" dirty="0"/>
              <a:t>HEADINGS</a:t>
            </a:r>
          </a:p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3385DF-6525-4C12-927E-B18EFDE525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126283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(4 poi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04FC7C7-2B27-49C4-B9D4-53BFD986A9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04FC7C7-2B27-49C4-B9D4-53BFD986A9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42156EE-4523-4C3B-A50D-CB3AA751463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4400" b="0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7ABC1C1B-4A7F-42F7-967F-7CB7B11EFFE2}"/>
              </a:ext>
            </a:extLst>
          </p:cNvPr>
          <p:cNvCxnSpPr>
            <a:cxnSpLocks/>
            <a:endCxn id="65" idx="7"/>
          </p:cNvCxnSpPr>
          <p:nvPr userDrawn="1"/>
        </p:nvCxnSpPr>
        <p:spPr>
          <a:xfrm flipV="1">
            <a:off x="9647036" y="2702961"/>
            <a:ext cx="889441" cy="505061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4CA10B20-3E7A-4102-9DF2-9D24D039B6EF}"/>
              </a:ext>
            </a:extLst>
          </p:cNvPr>
          <p:cNvCxnSpPr>
            <a:cxnSpLocks/>
          </p:cNvCxnSpPr>
          <p:nvPr userDrawn="1"/>
        </p:nvCxnSpPr>
        <p:spPr>
          <a:xfrm>
            <a:off x="9219199" y="3952158"/>
            <a:ext cx="0" cy="373953"/>
          </a:xfrm>
          <a:prstGeom prst="line">
            <a:avLst/>
          </a:prstGeom>
          <a:ln>
            <a:solidFill>
              <a:schemeClr val="accent3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A336E55D-4DC7-4DC3-A9DC-121C7571B580}"/>
              </a:ext>
            </a:extLst>
          </p:cNvPr>
          <p:cNvCxnSpPr>
            <a:cxnSpLocks/>
          </p:cNvCxnSpPr>
          <p:nvPr userDrawn="1"/>
        </p:nvCxnSpPr>
        <p:spPr>
          <a:xfrm flipV="1">
            <a:off x="6661253" y="3870054"/>
            <a:ext cx="0" cy="462190"/>
          </a:xfrm>
          <a:prstGeom prst="line">
            <a:avLst/>
          </a:prstGeom>
          <a:ln>
            <a:solidFill>
              <a:schemeClr val="accent2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212B3A4A-9BDA-4DEE-A3DF-8C8E7C864259}"/>
              </a:ext>
            </a:extLst>
          </p:cNvPr>
          <p:cNvCxnSpPr>
            <a:cxnSpLocks/>
          </p:cNvCxnSpPr>
          <p:nvPr userDrawn="1"/>
        </p:nvCxnSpPr>
        <p:spPr>
          <a:xfrm flipV="1">
            <a:off x="7150721" y="3596640"/>
            <a:ext cx="1767656" cy="100115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AE1ECBA3-E286-4CC6-913E-0F5574CE3CBF}"/>
              </a:ext>
            </a:extLst>
          </p:cNvPr>
          <p:cNvCxnSpPr>
            <a:cxnSpLocks/>
          </p:cNvCxnSpPr>
          <p:nvPr userDrawn="1"/>
        </p:nvCxnSpPr>
        <p:spPr>
          <a:xfrm>
            <a:off x="4448090" y="3554997"/>
            <a:ext cx="1747679" cy="97325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00CAA7EB-0222-431B-958A-116809616450}"/>
              </a:ext>
            </a:extLst>
          </p:cNvPr>
          <p:cNvCxnSpPr>
            <a:cxnSpLocks/>
          </p:cNvCxnSpPr>
          <p:nvPr userDrawn="1"/>
        </p:nvCxnSpPr>
        <p:spPr>
          <a:xfrm flipV="1">
            <a:off x="2018653" y="3674867"/>
            <a:ext cx="1709875" cy="1236086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Oval 114">
            <a:extLst>
              <a:ext uri="{FF2B5EF4-FFF2-40B4-BE49-F238E27FC236}">
                <a16:creationId xmlns:a16="http://schemas.microsoft.com/office/drawing/2014/main" id="{CAAC4C57-9573-41F5-9777-1E2281AB93B6}"/>
              </a:ext>
            </a:extLst>
          </p:cNvPr>
          <p:cNvSpPr/>
          <p:nvPr userDrawn="1"/>
        </p:nvSpPr>
        <p:spPr>
          <a:xfrm>
            <a:off x="1152863" y="4728950"/>
            <a:ext cx="1072044" cy="107204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2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6" name="Oval 115">
            <a:extLst>
              <a:ext uri="{FF2B5EF4-FFF2-40B4-BE49-F238E27FC236}">
                <a16:creationId xmlns:a16="http://schemas.microsoft.com/office/drawing/2014/main" id="{03C96F7D-7E97-432E-AE63-F5BF782C7ACC}"/>
              </a:ext>
            </a:extLst>
          </p:cNvPr>
          <p:cNvSpPr/>
          <p:nvPr userDrawn="1"/>
        </p:nvSpPr>
        <p:spPr>
          <a:xfrm>
            <a:off x="6125231" y="4262587"/>
            <a:ext cx="1072044" cy="107204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8" name="Oval 117">
            <a:extLst>
              <a:ext uri="{FF2B5EF4-FFF2-40B4-BE49-F238E27FC236}">
                <a16:creationId xmlns:a16="http://schemas.microsoft.com/office/drawing/2014/main" id="{C1C463EA-2EFE-4E79-A2CD-73F7CC421407}"/>
              </a:ext>
            </a:extLst>
          </p:cNvPr>
          <p:cNvSpPr/>
          <p:nvPr userDrawn="1"/>
        </p:nvSpPr>
        <p:spPr>
          <a:xfrm>
            <a:off x="3612915" y="2895076"/>
            <a:ext cx="1072044" cy="107204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9" name="Oval 118">
            <a:extLst>
              <a:ext uri="{FF2B5EF4-FFF2-40B4-BE49-F238E27FC236}">
                <a16:creationId xmlns:a16="http://schemas.microsoft.com/office/drawing/2014/main" id="{DAB0A538-A15A-4E4F-B6CB-688456BA2515}"/>
              </a:ext>
            </a:extLst>
          </p:cNvPr>
          <p:cNvSpPr/>
          <p:nvPr userDrawn="1"/>
        </p:nvSpPr>
        <p:spPr>
          <a:xfrm>
            <a:off x="8683177" y="2955472"/>
            <a:ext cx="1072044" cy="107204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53BC7FD3-A08C-4505-AF32-8DB519310FAB}"/>
              </a:ext>
            </a:extLst>
          </p:cNvPr>
          <p:cNvSpPr/>
          <p:nvPr userDrawn="1"/>
        </p:nvSpPr>
        <p:spPr>
          <a:xfrm>
            <a:off x="1222522" y="4798609"/>
            <a:ext cx="932727" cy="93272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2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37432155-3866-467D-93AC-B907FBEFA173}"/>
              </a:ext>
            </a:extLst>
          </p:cNvPr>
          <p:cNvSpPr/>
          <p:nvPr userDrawn="1"/>
        </p:nvSpPr>
        <p:spPr>
          <a:xfrm>
            <a:off x="6194891" y="4332246"/>
            <a:ext cx="932727" cy="93272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algn="ctr" defTabSz="914377" rtl="0" eaLnBrk="1" latinLnBrk="0" hangingPunct="1"/>
            <a:endParaRPr lang="en-US" sz="1200" b="1" kern="1200" dirty="0">
              <a:solidFill>
                <a:schemeClr val="bg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E6C7CB3C-82EF-46DF-BBD9-CB2E11BD6BD1}"/>
              </a:ext>
            </a:extLst>
          </p:cNvPr>
          <p:cNvSpPr/>
          <p:nvPr userDrawn="1"/>
        </p:nvSpPr>
        <p:spPr>
          <a:xfrm>
            <a:off x="3682575" y="2964735"/>
            <a:ext cx="932727" cy="93272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algn="ctr" defTabSz="914377" rtl="0" eaLnBrk="1" latinLnBrk="0" hangingPunct="1"/>
            <a:endParaRPr lang="en-US" sz="1200" b="1" kern="1200" dirty="0">
              <a:solidFill>
                <a:schemeClr val="bg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1B18C326-BB3C-4FBC-A2CA-9BBFB4BD8663}"/>
              </a:ext>
            </a:extLst>
          </p:cNvPr>
          <p:cNvSpPr/>
          <p:nvPr userDrawn="1"/>
        </p:nvSpPr>
        <p:spPr>
          <a:xfrm>
            <a:off x="8752837" y="3025130"/>
            <a:ext cx="932727" cy="932727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algn="ctr" defTabSz="914377" rtl="0" eaLnBrk="1" latinLnBrk="0" hangingPunct="1"/>
            <a:endParaRPr lang="en-US" sz="1200" b="1" kern="1200" dirty="0">
              <a:solidFill>
                <a:schemeClr val="bg1"/>
              </a:solidFill>
              <a:latin typeface="+mj-lt"/>
              <a:ea typeface="+mn-ea"/>
              <a:cs typeface="+mn-cs"/>
            </a:endParaRP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1BC990BB-9681-4EFB-B9CA-B7BB7F5E5F9B}"/>
              </a:ext>
            </a:extLst>
          </p:cNvPr>
          <p:cNvGrpSpPr/>
          <p:nvPr userDrawn="1"/>
        </p:nvGrpSpPr>
        <p:grpSpPr>
          <a:xfrm rot="363200">
            <a:off x="10541608" y="1789220"/>
            <a:ext cx="1124809" cy="1067384"/>
            <a:chOff x="10518159" y="2027285"/>
            <a:chExt cx="1124809" cy="1067384"/>
          </a:xfrm>
        </p:grpSpPr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8D7BF13F-2EA2-4865-84E8-41C27A00C8B0}"/>
                </a:ext>
              </a:extLst>
            </p:cNvPr>
            <p:cNvSpPr/>
            <p:nvPr userDrawn="1"/>
          </p:nvSpPr>
          <p:spPr>
            <a:xfrm>
              <a:off x="11460489" y="2027285"/>
              <a:ext cx="182479" cy="193482"/>
            </a:xfrm>
            <a:custGeom>
              <a:avLst/>
              <a:gdLst>
                <a:gd name="connsiteX0" fmla="*/ 95144 w 182479"/>
                <a:gd name="connsiteY0" fmla="*/ 1443 h 193482"/>
                <a:gd name="connsiteX1" fmla="*/ 180163 w 182479"/>
                <a:gd name="connsiteY1" fmla="*/ 13269 h 193482"/>
                <a:gd name="connsiteX2" fmla="*/ 169438 w 182479"/>
                <a:gd name="connsiteY2" fmla="*/ 193482 h 193482"/>
                <a:gd name="connsiteX3" fmla="*/ 0 w 182479"/>
                <a:gd name="connsiteY3" fmla="*/ 1731 h 193482"/>
                <a:gd name="connsiteX4" fmla="*/ 95144 w 182479"/>
                <a:gd name="connsiteY4" fmla="*/ 1443 h 193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2479" h="193482">
                  <a:moveTo>
                    <a:pt x="95144" y="1443"/>
                  </a:moveTo>
                  <a:cubicBezTo>
                    <a:pt x="125360" y="3428"/>
                    <a:pt x="153888" y="7433"/>
                    <a:pt x="180163" y="13269"/>
                  </a:cubicBezTo>
                  <a:cubicBezTo>
                    <a:pt x="185278" y="66856"/>
                    <a:pt x="182015" y="128486"/>
                    <a:pt x="169438" y="193482"/>
                  </a:cubicBezTo>
                  <a:lnTo>
                    <a:pt x="0" y="1731"/>
                  </a:lnTo>
                  <a:cubicBezTo>
                    <a:pt x="33025" y="-510"/>
                    <a:pt x="64928" y="-543"/>
                    <a:pt x="95144" y="144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21106443-FBE3-4073-B7CE-86075326EC86}"/>
                </a:ext>
              </a:extLst>
            </p:cNvPr>
            <p:cNvSpPr/>
            <p:nvPr userDrawn="1"/>
          </p:nvSpPr>
          <p:spPr>
            <a:xfrm>
              <a:off x="10737681" y="2036222"/>
              <a:ext cx="876978" cy="830680"/>
            </a:xfrm>
            <a:custGeom>
              <a:avLst/>
              <a:gdLst>
                <a:gd name="connsiteX0" fmla="*/ 656861 w 876978"/>
                <a:gd name="connsiteY0" fmla="*/ 0 h 830680"/>
                <a:gd name="connsiteX1" fmla="*/ 876978 w 876978"/>
                <a:gd name="connsiteY1" fmla="*/ 249103 h 830680"/>
                <a:gd name="connsiteX2" fmla="*/ 631155 w 876978"/>
                <a:gd name="connsiteY2" fmla="*/ 642689 h 830680"/>
                <a:gd name="connsiteX3" fmla="*/ 229388 w 876978"/>
                <a:gd name="connsiteY3" fmla="*/ 830680 h 830680"/>
                <a:gd name="connsiteX4" fmla="*/ 0 w 876978"/>
                <a:gd name="connsiteY4" fmla="*/ 571083 h 830680"/>
                <a:gd name="connsiteX5" fmla="*/ 236013 w 876978"/>
                <a:gd name="connsiteY5" fmla="*/ 195510 h 830680"/>
                <a:gd name="connsiteX6" fmla="*/ 656861 w 876978"/>
                <a:gd name="connsiteY6" fmla="*/ 0 h 830680"/>
                <a:gd name="connsiteX7" fmla="*/ 571124 w 876978"/>
                <a:gd name="connsiteY7" fmla="*/ 182374 h 830680"/>
                <a:gd name="connsiteX8" fmla="*/ 482816 w 876978"/>
                <a:gd name="connsiteY8" fmla="*/ 212794 h 830680"/>
                <a:gd name="connsiteX9" fmla="*/ 472178 w 876978"/>
                <a:gd name="connsiteY9" fmla="*/ 384995 h 830680"/>
                <a:gd name="connsiteX10" fmla="*/ 556070 w 876978"/>
                <a:gd name="connsiteY10" fmla="*/ 426054 h 830680"/>
                <a:gd name="connsiteX11" fmla="*/ 644379 w 876978"/>
                <a:gd name="connsiteY11" fmla="*/ 395633 h 830680"/>
                <a:gd name="connsiteX12" fmla="*/ 655017 w 876978"/>
                <a:gd name="connsiteY12" fmla="*/ 223432 h 830680"/>
                <a:gd name="connsiteX13" fmla="*/ 571124 w 876978"/>
                <a:gd name="connsiteY13" fmla="*/ 182374 h 830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76978" h="830680">
                  <a:moveTo>
                    <a:pt x="656861" y="0"/>
                  </a:moveTo>
                  <a:lnTo>
                    <a:pt x="876978" y="249103"/>
                  </a:lnTo>
                  <a:cubicBezTo>
                    <a:pt x="838681" y="385078"/>
                    <a:pt x="759947" y="528883"/>
                    <a:pt x="631155" y="642689"/>
                  </a:cubicBezTo>
                  <a:cubicBezTo>
                    <a:pt x="514869" y="745443"/>
                    <a:pt x="349568" y="799102"/>
                    <a:pt x="229388" y="830680"/>
                  </a:cubicBezTo>
                  <a:lnTo>
                    <a:pt x="0" y="571083"/>
                  </a:lnTo>
                  <a:cubicBezTo>
                    <a:pt x="46129" y="455705"/>
                    <a:pt x="119726" y="298264"/>
                    <a:pt x="236013" y="195510"/>
                  </a:cubicBezTo>
                  <a:cubicBezTo>
                    <a:pt x="364805" y="81704"/>
                    <a:pt x="517198" y="21405"/>
                    <a:pt x="656861" y="0"/>
                  </a:cubicBezTo>
                  <a:close/>
                  <a:moveTo>
                    <a:pt x="571124" y="182374"/>
                  </a:moveTo>
                  <a:cubicBezTo>
                    <a:pt x="538634" y="180367"/>
                    <a:pt x="507117" y="191193"/>
                    <a:pt x="482816" y="212794"/>
                  </a:cubicBezTo>
                  <a:cubicBezTo>
                    <a:pt x="432363" y="257377"/>
                    <a:pt x="427588" y="334678"/>
                    <a:pt x="472178" y="384995"/>
                  </a:cubicBezTo>
                  <a:cubicBezTo>
                    <a:pt x="494397" y="410285"/>
                    <a:pt x="524798" y="424122"/>
                    <a:pt x="556070" y="426054"/>
                  </a:cubicBezTo>
                  <a:cubicBezTo>
                    <a:pt x="587208" y="427977"/>
                    <a:pt x="619215" y="417996"/>
                    <a:pt x="644379" y="395633"/>
                  </a:cubicBezTo>
                  <a:cubicBezTo>
                    <a:pt x="694824" y="351187"/>
                    <a:pt x="699599" y="273886"/>
                    <a:pt x="655017" y="223432"/>
                  </a:cubicBezTo>
                  <a:cubicBezTo>
                    <a:pt x="633425" y="198996"/>
                    <a:pt x="603615" y="184381"/>
                    <a:pt x="571124" y="18237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09DA275D-4522-40A8-8DA5-7EC8C104A12C}"/>
                </a:ext>
              </a:extLst>
            </p:cNvPr>
            <p:cNvSpPr/>
            <p:nvPr userDrawn="1"/>
          </p:nvSpPr>
          <p:spPr>
            <a:xfrm>
              <a:off x="11233425" y="2272614"/>
              <a:ext cx="135606" cy="135621"/>
            </a:xfrm>
            <a:custGeom>
              <a:avLst/>
              <a:gdLst>
                <a:gd name="connsiteX0" fmla="*/ 72035 w 135606"/>
                <a:gd name="connsiteY0" fmla="*/ 134 h 135621"/>
                <a:gd name="connsiteX1" fmla="*/ 118737 w 135606"/>
                <a:gd name="connsiteY1" fmla="*/ 22860 h 135621"/>
                <a:gd name="connsiteX2" fmla="*/ 112816 w 135606"/>
                <a:gd name="connsiteY2" fmla="*/ 118707 h 135621"/>
                <a:gd name="connsiteX3" fmla="*/ 16969 w 135606"/>
                <a:gd name="connsiteY3" fmla="*/ 112786 h 135621"/>
                <a:gd name="connsiteX4" fmla="*/ 22890 w 135606"/>
                <a:gd name="connsiteY4" fmla="*/ 16939 h 135621"/>
                <a:gd name="connsiteX5" fmla="*/ 72035 w 135606"/>
                <a:gd name="connsiteY5" fmla="*/ 134 h 135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5606" h="135621">
                  <a:moveTo>
                    <a:pt x="72035" y="134"/>
                  </a:moveTo>
                  <a:cubicBezTo>
                    <a:pt x="90041" y="1246"/>
                    <a:pt x="106663" y="9340"/>
                    <a:pt x="118737" y="22860"/>
                  </a:cubicBezTo>
                  <a:cubicBezTo>
                    <a:pt x="143371" y="50881"/>
                    <a:pt x="140711" y="93931"/>
                    <a:pt x="112816" y="118707"/>
                  </a:cubicBezTo>
                  <a:cubicBezTo>
                    <a:pt x="84795" y="143339"/>
                    <a:pt x="41737" y="140816"/>
                    <a:pt x="16969" y="112786"/>
                  </a:cubicBezTo>
                  <a:cubicBezTo>
                    <a:pt x="-7799" y="84757"/>
                    <a:pt x="-5139" y="41707"/>
                    <a:pt x="22890" y="16939"/>
                  </a:cubicBezTo>
                  <a:cubicBezTo>
                    <a:pt x="36538" y="5008"/>
                    <a:pt x="53894" y="-987"/>
                    <a:pt x="72035" y="13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A013B1B6-F1D5-4994-9CCF-E586D514EC51}"/>
                </a:ext>
              </a:extLst>
            </p:cNvPr>
            <p:cNvSpPr/>
            <p:nvPr userDrawn="1"/>
          </p:nvSpPr>
          <p:spPr>
            <a:xfrm>
              <a:off x="10518159" y="2429220"/>
              <a:ext cx="240986" cy="148837"/>
            </a:xfrm>
            <a:custGeom>
              <a:avLst/>
              <a:gdLst>
                <a:gd name="connsiteX0" fmla="*/ 240986 w 240986"/>
                <a:gd name="connsiteY0" fmla="*/ 31 h 148837"/>
                <a:gd name="connsiteX1" fmla="*/ 172815 w 240986"/>
                <a:gd name="connsiteY1" fmla="*/ 148837 h 148837"/>
                <a:gd name="connsiteX2" fmla="*/ 0 w 240986"/>
                <a:gd name="connsiteY2" fmla="*/ 97528 h 148837"/>
                <a:gd name="connsiteX3" fmla="*/ 240986 w 240986"/>
                <a:gd name="connsiteY3" fmla="*/ 31 h 148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0986" h="148837">
                  <a:moveTo>
                    <a:pt x="240986" y="31"/>
                  </a:moveTo>
                  <a:cubicBezTo>
                    <a:pt x="214345" y="50704"/>
                    <a:pt x="191910" y="101502"/>
                    <a:pt x="172815" y="148837"/>
                  </a:cubicBezTo>
                  <a:lnTo>
                    <a:pt x="0" y="97528"/>
                  </a:lnTo>
                  <a:cubicBezTo>
                    <a:pt x="49409" y="58861"/>
                    <a:pt x="142831" y="-1548"/>
                    <a:pt x="240986" y="3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7D524F96-419D-4129-9C03-1DEB64A59A21}"/>
                </a:ext>
              </a:extLst>
            </p:cNvPr>
            <p:cNvSpPr/>
            <p:nvPr userDrawn="1"/>
          </p:nvSpPr>
          <p:spPr>
            <a:xfrm>
              <a:off x="10556270" y="2651013"/>
              <a:ext cx="363263" cy="348643"/>
            </a:xfrm>
            <a:custGeom>
              <a:avLst/>
              <a:gdLst>
                <a:gd name="connsiteX0" fmla="*/ 147592 w 363263"/>
                <a:gd name="connsiteY0" fmla="*/ 0 h 348643"/>
                <a:gd name="connsiteX1" fmla="*/ 363263 w 363263"/>
                <a:gd name="connsiteY1" fmla="*/ 244072 h 348643"/>
                <a:gd name="connsiteX2" fmla="*/ 302182 w 363263"/>
                <a:gd name="connsiteY2" fmla="*/ 297919 h 348643"/>
                <a:gd name="connsiteX3" fmla="*/ 255440 w 363263"/>
                <a:gd name="connsiteY3" fmla="*/ 245022 h 348643"/>
                <a:gd name="connsiteX4" fmla="*/ 235348 w 363263"/>
                <a:gd name="connsiteY4" fmla="*/ 235899 h 348643"/>
                <a:gd name="connsiteX5" fmla="*/ 214955 w 363263"/>
                <a:gd name="connsiteY5" fmla="*/ 244831 h 348643"/>
                <a:gd name="connsiteX6" fmla="*/ 183825 w 363263"/>
                <a:gd name="connsiteY6" fmla="*/ 275795 h 348643"/>
                <a:gd name="connsiteX7" fmla="*/ 0 w 363263"/>
                <a:gd name="connsiteY7" fmla="*/ 347741 h 348643"/>
                <a:gd name="connsiteX8" fmla="*/ 94026 w 363263"/>
                <a:gd name="connsiteY8" fmla="*/ 174169 h 348643"/>
                <a:gd name="connsiteX9" fmla="*/ 128594 w 363263"/>
                <a:gd name="connsiteY9" fmla="*/ 146951 h 348643"/>
                <a:gd name="connsiteX10" fmla="*/ 139959 w 363263"/>
                <a:gd name="connsiteY10" fmla="*/ 127949 h 348643"/>
                <a:gd name="connsiteX11" fmla="*/ 133378 w 363263"/>
                <a:gd name="connsiteY11" fmla="*/ 106887 h 348643"/>
                <a:gd name="connsiteX12" fmla="*/ 86637 w 363263"/>
                <a:gd name="connsiteY12" fmla="*/ 53990 h 348643"/>
                <a:gd name="connsiteX13" fmla="*/ 147592 w 363263"/>
                <a:gd name="connsiteY13" fmla="*/ 0 h 348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63263" h="348643">
                  <a:moveTo>
                    <a:pt x="147592" y="0"/>
                  </a:moveTo>
                  <a:lnTo>
                    <a:pt x="363263" y="244072"/>
                  </a:lnTo>
                  <a:lnTo>
                    <a:pt x="302182" y="297919"/>
                  </a:lnTo>
                  <a:lnTo>
                    <a:pt x="255440" y="245022"/>
                  </a:lnTo>
                  <a:cubicBezTo>
                    <a:pt x="250359" y="239272"/>
                    <a:pt x="243089" y="235969"/>
                    <a:pt x="235348" y="235899"/>
                  </a:cubicBezTo>
                  <a:cubicBezTo>
                    <a:pt x="227606" y="235828"/>
                    <a:pt x="220205" y="239040"/>
                    <a:pt x="214955" y="244831"/>
                  </a:cubicBezTo>
                  <a:cubicBezTo>
                    <a:pt x="204886" y="256032"/>
                    <a:pt x="194461" y="266395"/>
                    <a:pt x="183825" y="275795"/>
                  </a:cubicBezTo>
                  <a:cubicBezTo>
                    <a:pt x="126041" y="326854"/>
                    <a:pt x="56141" y="354064"/>
                    <a:pt x="0" y="347741"/>
                  </a:cubicBezTo>
                  <a:cubicBezTo>
                    <a:pt x="907" y="291266"/>
                    <a:pt x="36242" y="225230"/>
                    <a:pt x="94026" y="174169"/>
                  </a:cubicBezTo>
                  <a:cubicBezTo>
                    <a:pt x="104663" y="164770"/>
                    <a:pt x="116230" y="155700"/>
                    <a:pt x="128594" y="146951"/>
                  </a:cubicBezTo>
                  <a:cubicBezTo>
                    <a:pt x="134978" y="142589"/>
                    <a:pt x="139076" y="135641"/>
                    <a:pt x="139959" y="127949"/>
                  </a:cubicBezTo>
                  <a:cubicBezTo>
                    <a:pt x="140978" y="120266"/>
                    <a:pt x="138459" y="112636"/>
                    <a:pt x="133378" y="106887"/>
                  </a:cubicBezTo>
                  <a:lnTo>
                    <a:pt x="86637" y="53990"/>
                  </a:lnTo>
                  <a:lnTo>
                    <a:pt x="147592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2EF5FA8F-E510-4A8E-AE63-8E22B4C1C60C}"/>
                </a:ext>
              </a:extLst>
            </p:cNvPr>
            <p:cNvSpPr/>
            <p:nvPr userDrawn="1"/>
          </p:nvSpPr>
          <p:spPr>
            <a:xfrm>
              <a:off x="10990348" y="2867518"/>
              <a:ext cx="156065" cy="227151"/>
            </a:xfrm>
            <a:custGeom>
              <a:avLst/>
              <a:gdLst>
                <a:gd name="connsiteX0" fmla="*/ 156065 w 156065"/>
                <a:gd name="connsiteY0" fmla="*/ 0 h 227151"/>
                <a:gd name="connsiteX1" fmla="*/ 29648 w 156065"/>
                <a:gd name="connsiteY1" fmla="*/ 227151 h 227151"/>
                <a:gd name="connsiteX2" fmla="*/ 0 w 156065"/>
                <a:gd name="connsiteY2" fmla="*/ 49337 h 227151"/>
                <a:gd name="connsiteX3" fmla="*/ 156065 w 156065"/>
                <a:gd name="connsiteY3" fmla="*/ 0 h 227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6065" h="227151">
                  <a:moveTo>
                    <a:pt x="156065" y="0"/>
                  </a:moveTo>
                  <a:cubicBezTo>
                    <a:pt x="145686" y="97610"/>
                    <a:pt x="74102" y="182878"/>
                    <a:pt x="29648" y="227151"/>
                  </a:cubicBezTo>
                  <a:lnTo>
                    <a:pt x="0" y="49337"/>
                  </a:lnTo>
                  <a:cubicBezTo>
                    <a:pt x="49326" y="36212"/>
                    <a:pt x="102498" y="20201"/>
                    <a:pt x="15606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8BB2D8C6-FDD6-4E14-9D4B-C91912FA5557}"/>
              </a:ext>
            </a:extLst>
          </p:cNvPr>
          <p:cNvCxnSpPr>
            <a:cxnSpLocks/>
            <a:stCxn id="115" idx="0"/>
          </p:cNvCxnSpPr>
          <p:nvPr userDrawn="1"/>
        </p:nvCxnSpPr>
        <p:spPr>
          <a:xfrm flipV="1">
            <a:off x="1688884" y="4346585"/>
            <a:ext cx="0" cy="382367"/>
          </a:xfrm>
          <a:prstGeom prst="line">
            <a:avLst/>
          </a:prstGeom>
          <a:ln>
            <a:solidFill>
              <a:schemeClr val="tx2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FBE178B8-4A7E-42ED-9A04-53BE94629C13}"/>
              </a:ext>
            </a:extLst>
          </p:cNvPr>
          <p:cNvCxnSpPr>
            <a:cxnSpLocks/>
          </p:cNvCxnSpPr>
          <p:nvPr userDrawn="1"/>
        </p:nvCxnSpPr>
        <p:spPr>
          <a:xfrm flipH="1">
            <a:off x="4148937" y="3967118"/>
            <a:ext cx="0" cy="445114"/>
          </a:xfrm>
          <a:prstGeom prst="line">
            <a:avLst/>
          </a:prstGeom>
          <a:ln>
            <a:solidFill>
              <a:schemeClr val="accent1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Text Placeholder 152">
            <a:extLst>
              <a:ext uri="{FF2B5EF4-FFF2-40B4-BE49-F238E27FC236}">
                <a16:creationId xmlns:a16="http://schemas.microsoft.com/office/drawing/2014/main" id="{057A5396-8CC0-48A7-B43F-8CA1AFC14D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24856" y="4910953"/>
            <a:ext cx="930391" cy="708034"/>
          </a:xfrm>
          <a:prstGeom prst="rect">
            <a:avLst/>
          </a:prstGeom>
        </p:spPr>
        <p:txBody>
          <a:bodyPr lIns="45720" rIns="45720" anchor="ctr">
            <a:noAutofit/>
          </a:bodyPr>
          <a:lstStyle>
            <a:lvl1pPr marL="0" indent="0" algn="ctr" defTabSz="914377" rtl="0" eaLnBrk="1" latinLnBrk="0" hangingPunct="1">
              <a:buNone/>
              <a:defRPr lang="en-US" sz="12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Month/</a:t>
            </a:r>
            <a:br>
              <a:rPr lang="en-US" dirty="0"/>
            </a:br>
            <a:r>
              <a:rPr lang="en-US" dirty="0"/>
              <a:t>Icons</a:t>
            </a:r>
          </a:p>
        </p:txBody>
      </p:sp>
      <p:sp>
        <p:nvSpPr>
          <p:cNvPr id="154" name="Text Placeholder 152">
            <a:extLst>
              <a:ext uri="{FF2B5EF4-FFF2-40B4-BE49-F238E27FC236}">
                <a16:creationId xmlns:a16="http://schemas.microsoft.com/office/drawing/2014/main" id="{74DDF8D9-FADC-4180-8A28-79E0D3B9488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83743" y="3069036"/>
            <a:ext cx="930391" cy="724120"/>
          </a:xfrm>
          <a:prstGeom prst="rect">
            <a:avLst/>
          </a:prstGeom>
        </p:spPr>
        <p:txBody>
          <a:bodyPr lIns="45720" rIns="45720" anchor="ctr">
            <a:noAutofit/>
          </a:bodyPr>
          <a:lstStyle>
            <a:lvl1pPr marL="0" indent="0" algn="ctr" defTabSz="914377" rtl="0" eaLnBrk="1" latinLnBrk="0" hangingPunct="1">
              <a:buNone/>
              <a:defRPr lang="en-US" sz="12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Month/</a:t>
            </a:r>
            <a:br>
              <a:rPr lang="en-US" dirty="0"/>
            </a:br>
            <a:r>
              <a:rPr lang="en-US" dirty="0"/>
              <a:t>Icons</a:t>
            </a:r>
          </a:p>
        </p:txBody>
      </p:sp>
      <p:sp>
        <p:nvSpPr>
          <p:cNvPr id="155" name="Text Placeholder 152">
            <a:extLst>
              <a:ext uri="{FF2B5EF4-FFF2-40B4-BE49-F238E27FC236}">
                <a16:creationId xmlns:a16="http://schemas.microsoft.com/office/drawing/2014/main" id="{5F26BA65-498C-4DF6-AE5D-6EB65C3C87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96059" y="4436547"/>
            <a:ext cx="930391" cy="724120"/>
          </a:xfrm>
          <a:prstGeom prst="rect">
            <a:avLst/>
          </a:prstGeom>
        </p:spPr>
        <p:txBody>
          <a:bodyPr lIns="45720" rIns="45720" anchor="ctr">
            <a:noAutofit/>
          </a:bodyPr>
          <a:lstStyle>
            <a:lvl1pPr marL="0" indent="0" algn="ctr" defTabSz="914377" rtl="0" eaLnBrk="1" latinLnBrk="0" hangingPunct="1">
              <a:buNone/>
              <a:defRPr lang="en-US" sz="12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Month/</a:t>
            </a:r>
            <a:br>
              <a:rPr lang="en-US" dirty="0"/>
            </a:br>
            <a:r>
              <a:rPr lang="en-US" dirty="0"/>
              <a:t>Icons</a:t>
            </a:r>
          </a:p>
        </p:txBody>
      </p:sp>
      <p:sp>
        <p:nvSpPr>
          <p:cNvPr id="156" name="Text Placeholder 152">
            <a:extLst>
              <a:ext uri="{FF2B5EF4-FFF2-40B4-BE49-F238E27FC236}">
                <a16:creationId xmlns:a16="http://schemas.microsoft.com/office/drawing/2014/main" id="{2438E704-BFFD-48B0-B2F9-ED2E0606B10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54005" y="3129433"/>
            <a:ext cx="930391" cy="724120"/>
          </a:xfrm>
          <a:prstGeom prst="rect">
            <a:avLst/>
          </a:prstGeom>
        </p:spPr>
        <p:txBody>
          <a:bodyPr lIns="45720" rIns="45720" anchor="ctr">
            <a:noAutofit/>
          </a:bodyPr>
          <a:lstStyle>
            <a:lvl1pPr marL="0" indent="0" algn="ctr" defTabSz="914377" rtl="0" eaLnBrk="1" latinLnBrk="0" hangingPunct="1">
              <a:buNone/>
              <a:defRPr lang="en-US" sz="12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Month/</a:t>
            </a:r>
            <a:br>
              <a:rPr lang="en-US" dirty="0"/>
            </a:br>
            <a:r>
              <a:rPr lang="en-US" dirty="0"/>
              <a:t>Icons</a:t>
            </a:r>
          </a:p>
        </p:txBody>
      </p: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069386F1-0846-48C6-941E-C97476E7706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67361" y="1798639"/>
            <a:ext cx="2450431" cy="2313666"/>
          </a:xfrm>
          <a:prstGeom prst="rect">
            <a:avLst/>
          </a:prstGeom>
        </p:spPr>
        <p:txBody>
          <a:bodyPr r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200" b="0"/>
            </a:lvl1pPr>
          </a:lstStyle>
          <a:p>
            <a:pPr lvl="0"/>
            <a:r>
              <a:rPr lang="en-US" dirty="0"/>
              <a:t>HEADINGS</a:t>
            </a:r>
          </a:p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</a:t>
            </a:r>
          </a:p>
        </p:txBody>
      </p:sp>
      <p:sp>
        <p:nvSpPr>
          <p:cNvPr id="125" name="Text Placeholder 103">
            <a:extLst>
              <a:ext uri="{FF2B5EF4-FFF2-40B4-BE49-F238E27FC236}">
                <a16:creationId xmlns:a16="http://schemas.microsoft.com/office/drawing/2014/main" id="{532718B5-5F99-4441-8BDE-3BD33BDC709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313879" y="1716343"/>
            <a:ext cx="2674676" cy="2021409"/>
          </a:xfrm>
          <a:prstGeom prst="rect">
            <a:avLst/>
          </a:prstGeom>
        </p:spPr>
        <p:txBody>
          <a:bodyPr r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200" b="0"/>
            </a:lvl1pPr>
          </a:lstStyle>
          <a:p>
            <a:pPr lvl="0"/>
            <a:r>
              <a:rPr lang="en-US" dirty="0"/>
              <a:t>HEADINGS</a:t>
            </a:r>
          </a:p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</a:t>
            </a:r>
          </a:p>
        </p:txBody>
      </p:sp>
      <p:sp>
        <p:nvSpPr>
          <p:cNvPr id="132" name="Text Placeholder 103">
            <a:extLst>
              <a:ext uri="{FF2B5EF4-FFF2-40B4-BE49-F238E27FC236}">
                <a16:creationId xmlns:a16="http://schemas.microsoft.com/office/drawing/2014/main" id="{7E365873-B741-4B0E-9666-4DBF5F130AC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754145" y="4592120"/>
            <a:ext cx="2814961" cy="1625566"/>
          </a:xfrm>
          <a:prstGeom prst="rect">
            <a:avLst/>
          </a:prstGeom>
        </p:spPr>
        <p:txBody>
          <a:bodyPr r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200" b="0"/>
            </a:lvl1pPr>
          </a:lstStyle>
          <a:p>
            <a:pPr lvl="0"/>
            <a:r>
              <a:rPr lang="en-US" dirty="0"/>
              <a:t>HEADINGS</a:t>
            </a:r>
          </a:p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</a:t>
            </a:r>
          </a:p>
        </p:txBody>
      </p:sp>
      <p:sp>
        <p:nvSpPr>
          <p:cNvPr id="133" name="Text Placeholder 103">
            <a:extLst>
              <a:ext uri="{FF2B5EF4-FFF2-40B4-BE49-F238E27FC236}">
                <a16:creationId xmlns:a16="http://schemas.microsoft.com/office/drawing/2014/main" id="{A395CC7C-226C-4AE5-B23B-4EC71013704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714157" y="4494722"/>
            <a:ext cx="3010083" cy="1707642"/>
          </a:xfrm>
          <a:prstGeom prst="rect">
            <a:avLst/>
          </a:prstGeom>
        </p:spPr>
        <p:txBody>
          <a:bodyPr r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200" b="0"/>
            </a:lvl1pPr>
          </a:lstStyle>
          <a:p>
            <a:pPr lvl="0"/>
            <a:r>
              <a:rPr lang="en-US" dirty="0"/>
              <a:t>HEADINGS</a:t>
            </a:r>
          </a:p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DC382F6-3D6D-408E-BAE0-5A943AFDFD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82099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F21E28-85A3-191C-C87B-CA00EAABA7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C88B7D-2683-2B5E-888F-E01047870B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605D4F3-5CA1-57E1-7470-3CCFBF7CD39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68B8401-F1FC-D62D-19C7-026D0D6DF13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699D69B-1820-54D6-719E-3D3ACBE07F3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FF80CFC-98BE-4D42-EB9E-843FB9558D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6312C-EAFF-4BED-94F5-BEE52E89B31E}" type="datetimeFigureOut">
              <a:rPr lang="en-US" smtClean="0"/>
              <a:t>2/14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B82BC7D-8D6A-5BC8-82E4-273738B4BC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37E746-DAEE-C0E5-CA5E-9F1F042010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EEC150-AE8D-49EF-81A6-13FC777E18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176273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2 Speak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0BBE1DCD-7CA2-4BD6-9298-8D0F46F388C3}"/>
              </a:ext>
            </a:extLst>
          </p:cNvPr>
          <p:cNvSpPr/>
          <p:nvPr/>
        </p:nvSpPr>
        <p:spPr>
          <a:xfrm>
            <a:off x="2621282" y="1819276"/>
            <a:ext cx="3383279" cy="2785242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>
              <a:solidFill>
                <a:schemeClr val="bg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30D6526-B985-4F10-AEE0-BD8D53170111}"/>
              </a:ext>
            </a:extLst>
          </p:cNvPr>
          <p:cNvSpPr/>
          <p:nvPr/>
        </p:nvSpPr>
        <p:spPr>
          <a:xfrm>
            <a:off x="3138015" y="1819276"/>
            <a:ext cx="258368" cy="4572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C601F0B-C8F0-4800-BA71-66A2B1EAA6AC}"/>
              </a:ext>
            </a:extLst>
          </p:cNvPr>
          <p:cNvSpPr/>
          <p:nvPr/>
        </p:nvSpPr>
        <p:spPr>
          <a:xfrm>
            <a:off x="2621280" y="1819276"/>
            <a:ext cx="258368" cy="457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A827D9C-9FC5-4EDF-BC6F-20EE9685A3E0}"/>
              </a:ext>
            </a:extLst>
          </p:cNvPr>
          <p:cNvSpPr/>
          <p:nvPr/>
        </p:nvSpPr>
        <p:spPr>
          <a:xfrm>
            <a:off x="2879648" y="1819276"/>
            <a:ext cx="258368" cy="4572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6847B94-CDDB-481F-AD0D-204D32C458E4}"/>
              </a:ext>
            </a:extLst>
          </p:cNvPr>
          <p:cNvSpPr/>
          <p:nvPr/>
        </p:nvSpPr>
        <p:spPr>
          <a:xfrm>
            <a:off x="5746192" y="4558798"/>
            <a:ext cx="258368" cy="4572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B1EC0A0-A170-4267-98F2-A3A51CBEE763}"/>
              </a:ext>
            </a:extLst>
          </p:cNvPr>
          <p:cNvSpPr/>
          <p:nvPr/>
        </p:nvSpPr>
        <p:spPr>
          <a:xfrm>
            <a:off x="5229457" y="4558798"/>
            <a:ext cx="258368" cy="457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99383FE-3310-4C18-8F4B-B272262DECB3}"/>
              </a:ext>
            </a:extLst>
          </p:cNvPr>
          <p:cNvSpPr/>
          <p:nvPr/>
        </p:nvSpPr>
        <p:spPr>
          <a:xfrm>
            <a:off x="5487825" y="4558798"/>
            <a:ext cx="258368" cy="4572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4A0525C-39ED-4181-8FB9-7C9009B723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D6C439D-2456-411A-9ECA-221CABEA5A5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766307" y="1980170"/>
            <a:ext cx="3093228" cy="2463454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/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2801FC-E55A-4F57-A034-B08C36DB08F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21280" y="4719694"/>
            <a:ext cx="3383280" cy="39652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3E151FF5-AF09-43A8-B64E-E090D07A57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87440" y="4719694"/>
            <a:ext cx="3383280" cy="39652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532EDEA-8585-4A2B-A339-8C9038E5E9F2}"/>
              </a:ext>
            </a:extLst>
          </p:cNvPr>
          <p:cNvSpPr/>
          <p:nvPr/>
        </p:nvSpPr>
        <p:spPr>
          <a:xfrm>
            <a:off x="6187442" y="1819276"/>
            <a:ext cx="3383279" cy="2785242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>
              <a:solidFill>
                <a:schemeClr val="bg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4CA917B4-408D-4FA3-9EB2-56A1AA3F58EE}"/>
              </a:ext>
            </a:extLst>
          </p:cNvPr>
          <p:cNvSpPr/>
          <p:nvPr/>
        </p:nvSpPr>
        <p:spPr>
          <a:xfrm>
            <a:off x="6704175" y="1819276"/>
            <a:ext cx="258368" cy="4572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471ADA2E-3FA3-49BE-BF7B-F76EB516082C}"/>
              </a:ext>
            </a:extLst>
          </p:cNvPr>
          <p:cNvSpPr/>
          <p:nvPr/>
        </p:nvSpPr>
        <p:spPr>
          <a:xfrm>
            <a:off x="6187440" y="1819276"/>
            <a:ext cx="258368" cy="457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78BCCC2-4C9A-48DA-B9A7-9262BCAE710D}"/>
              </a:ext>
            </a:extLst>
          </p:cNvPr>
          <p:cNvSpPr/>
          <p:nvPr/>
        </p:nvSpPr>
        <p:spPr>
          <a:xfrm>
            <a:off x="6445808" y="1819276"/>
            <a:ext cx="258368" cy="4572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1F13529-B3EC-48DF-ABE9-5DAE017C6575}"/>
              </a:ext>
            </a:extLst>
          </p:cNvPr>
          <p:cNvSpPr/>
          <p:nvPr/>
        </p:nvSpPr>
        <p:spPr>
          <a:xfrm>
            <a:off x="9312352" y="4558798"/>
            <a:ext cx="258368" cy="4572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E823BDA5-BE2F-4AD7-833B-4349DAFE80AC}"/>
              </a:ext>
            </a:extLst>
          </p:cNvPr>
          <p:cNvSpPr/>
          <p:nvPr/>
        </p:nvSpPr>
        <p:spPr>
          <a:xfrm>
            <a:off x="8795617" y="4558798"/>
            <a:ext cx="258368" cy="457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A9A67D16-BE65-4F7B-8EB8-3CD7A901D636}"/>
              </a:ext>
            </a:extLst>
          </p:cNvPr>
          <p:cNvSpPr/>
          <p:nvPr/>
        </p:nvSpPr>
        <p:spPr>
          <a:xfrm>
            <a:off x="9053985" y="4558798"/>
            <a:ext cx="258368" cy="4572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5" name="Picture Placeholder 4">
            <a:extLst>
              <a:ext uri="{FF2B5EF4-FFF2-40B4-BE49-F238E27FC236}">
                <a16:creationId xmlns:a16="http://schemas.microsoft.com/office/drawing/2014/main" id="{BCE11941-DD95-48DD-BCD6-C3A61D31285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32467" y="1980170"/>
            <a:ext cx="3093228" cy="2463454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/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7" name="Text Placeholder 20">
            <a:extLst>
              <a:ext uri="{FF2B5EF4-FFF2-40B4-BE49-F238E27FC236}">
                <a16:creationId xmlns:a16="http://schemas.microsoft.com/office/drawing/2014/main" id="{EE8D89F5-7513-40CB-BC40-25B4BCDCC31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21280" y="5192063"/>
            <a:ext cx="3383280" cy="39652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58" name="Text Placeholder 20">
            <a:extLst>
              <a:ext uri="{FF2B5EF4-FFF2-40B4-BE49-F238E27FC236}">
                <a16:creationId xmlns:a16="http://schemas.microsoft.com/office/drawing/2014/main" id="{371BE5B1-0318-43CC-BB05-E1842A8B42E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87440" y="5192063"/>
            <a:ext cx="3383280" cy="39652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Add text here</a:t>
            </a:r>
          </a:p>
        </p:txBody>
      </p:sp>
    </p:spTree>
    <p:extLst>
      <p:ext uri="{BB962C8B-B14F-4D97-AF65-F5344CB8AC3E}">
        <p14:creationId xmlns:p14="http://schemas.microsoft.com/office/powerpoint/2010/main" val="151528131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3 Speak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0BBE1DCD-7CA2-4BD6-9298-8D0F46F388C3}"/>
              </a:ext>
            </a:extLst>
          </p:cNvPr>
          <p:cNvSpPr/>
          <p:nvPr/>
        </p:nvSpPr>
        <p:spPr>
          <a:xfrm>
            <a:off x="838202" y="1819276"/>
            <a:ext cx="3383279" cy="2785242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>
              <a:solidFill>
                <a:schemeClr val="bg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30D6526-B985-4F10-AEE0-BD8D53170111}"/>
              </a:ext>
            </a:extLst>
          </p:cNvPr>
          <p:cNvSpPr/>
          <p:nvPr/>
        </p:nvSpPr>
        <p:spPr>
          <a:xfrm>
            <a:off x="1354935" y="1819276"/>
            <a:ext cx="258368" cy="4572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C601F0B-C8F0-4800-BA71-66A2B1EAA6AC}"/>
              </a:ext>
            </a:extLst>
          </p:cNvPr>
          <p:cNvSpPr/>
          <p:nvPr/>
        </p:nvSpPr>
        <p:spPr>
          <a:xfrm>
            <a:off x="838200" y="1819276"/>
            <a:ext cx="258368" cy="457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A827D9C-9FC5-4EDF-BC6F-20EE9685A3E0}"/>
              </a:ext>
            </a:extLst>
          </p:cNvPr>
          <p:cNvSpPr/>
          <p:nvPr/>
        </p:nvSpPr>
        <p:spPr>
          <a:xfrm>
            <a:off x="1096568" y="1819276"/>
            <a:ext cx="258368" cy="4572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6847B94-CDDB-481F-AD0D-204D32C458E4}"/>
              </a:ext>
            </a:extLst>
          </p:cNvPr>
          <p:cNvSpPr/>
          <p:nvPr/>
        </p:nvSpPr>
        <p:spPr>
          <a:xfrm>
            <a:off x="3963112" y="4558798"/>
            <a:ext cx="258368" cy="4572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B1EC0A0-A170-4267-98F2-A3A51CBEE763}"/>
              </a:ext>
            </a:extLst>
          </p:cNvPr>
          <p:cNvSpPr/>
          <p:nvPr/>
        </p:nvSpPr>
        <p:spPr>
          <a:xfrm>
            <a:off x="3446377" y="4558798"/>
            <a:ext cx="258368" cy="457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99383FE-3310-4C18-8F4B-B272262DECB3}"/>
              </a:ext>
            </a:extLst>
          </p:cNvPr>
          <p:cNvSpPr/>
          <p:nvPr/>
        </p:nvSpPr>
        <p:spPr>
          <a:xfrm>
            <a:off x="3704745" y="4558798"/>
            <a:ext cx="258368" cy="4572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4A0525C-39ED-4181-8FB9-7C9009B723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D6C439D-2456-411A-9ECA-221CABEA5A5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83227" y="1980170"/>
            <a:ext cx="3093228" cy="2463454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/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2801FC-E55A-4F57-A034-B08C36DB08F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4719694"/>
            <a:ext cx="3383280" cy="39652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3E151FF5-AF09-43A8-B64E-E090D07A57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04360" y="4719694"/>
            <a:ext cx="3383280" cy="39652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4ABD89F3-44C9-4E9B-812E-5F6FFBD0938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70520" y="4719694"/>
            <a:ext cx="3383280" cy="39652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532EDEA-8585-4A2B-A339-8C9038E5E9F2}"/>
              </a:ext>
            </a:extLst>
          </p:cNvPr>
          <p:cNvSpPr/>
          <p:nvPr/>
        </p:nvSpPr>
        <p:spPr>
          <a:xfrm>
            <a:off x="4404362" y="1819276"/>
            <a:ext cx="3383279" cy="2785242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>
              <a:solidFill>
                <a:schemeClr val="bg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4CA917B4-408D-4FA3-9EB2-56A1AA3F58EE}"/>
              </a:ext>
            </a:extLst>
          </p:cNvPr>
          <p:cNvSpPr/>
          <p:nvPr/>
        </p:nvSpPr>
        <p:spPr>
          <a:xfrm>
            <a:off x="4921095" y="1819276"/>
            <a:ext cx="258368" cy="4572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471ADA2E-3FA3-49BE-BF7B-F76EB516082C}"/>
              </a:ext>
            </a:extLst>
          </p:cNvPr>
          <p:cNvSpPr/>
          <p:nvPr/>
        </p:nvSpPr>
        <p:spPr>
          <a:xfrm>
            <a:off x="4404360" y="1819276"/>
            <a:ext cx="258368" cy="457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78BCCC2-4C9A-48DA-B9A7-9262BCAE710D}"/>
              </a:ext>
            </a:extLst>
          </p:cNvPr>
          <p:cNvSpPr/>
          <p:nvPr/>
        </p:nvSpPr>
        <p:spPr>
          <a:xfrm>
            <a:off x="4662728" y="1819276"/>
            <a:ext cx="258368" cy="4572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1F13529-B3EC-48DF-ABE9-5DAE017C6575}"/>
              </a:ext>
            </a:extLst>
          </p:cNvPr>
          <p:cNvSpPr/>
          <p:nvPr/>
        </p:nvSpPr>
        <p:spPr>
          <a:xfrm>
            <a:off x="7529272" y="4558798"/>
            <a:ext cx="258368" cy="4572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E823BDA5-BE2F-4AD7-833B-4349DAFE80AC}"/>
              </a:ext>
            </a:extLst>
          </p:cNvPr>
          <p:cNvSpPr/>
          <p:nvPr/>
        </p:nvSpPr>
        <p:spPr>
          <a:xfrm>
            <a:off x="7012537" y="4558798"/>
            <a:ext cx="258368" cy="457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A9A67D16-BE65-4F7B-8EB8-3CD7A901D636}"/>
              </a:ext>
            </a:extLst>
          </p:cNvPr>
          <p:cNvSpPr/>
          <p:nvPr/>
        </p:nvSpPr>
        <p:spPr>
          <a:xfrm>
            <a:off x="7270905" y="4558798"/>
            <a:ext cx="258368" cy="4572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5" name="Picture Placeholder 4">
            <a:extLst>
              <a:ext uri="{FF2B5EF4-FFF2-40B4-BE49-F238E27FC236}">
                <a16:creationId xmlns:a16="http://schemas.microsoft.com/office/drawing/2014/main" id="{BCE11941-DD95-48DD-BCD6-C3A61D31285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549387" y="1980170"/>
            <a:ext cx="3093228" cy="2463454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/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BE4B986E-900D-47CC-8CBF-CC5A56176E4D}"/>
              </a:ext>
            </a:extLst>
          </p:cNvPr>
          <p:cNvSpPr/>
          <p:nvPr/>
        </p:nvSpPr>
        <p:spPr>
          <a:xfrm>
            <a:off x="7970522" y="1819276"/>
            <a:ext cx="3383279" cy="2785242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>
              <a:solidFill>
                <a:schemeClr val="bg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4069BE6B-479F-4B3F-9793-288ED56161C4}"/>
              </a:ext>
            </a:extLst>
          </p:cNvPr>
          <p:cNvSpPr/>
          <p:nvPr/>
        </p:nvSpPr>
        <p:spPr>
          <a:xfrm>
            <a:off x="8487255" y="1819276"/>
            <a:ext cx="258368" cy="4572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615615D6-FDAB-4FC5-ACC4-B39FF9562BA5}"/>
              </a:ext>
            </a:extLst>
          </p:cNvPr>
          <p:cNvSpPr/>
          <p:nvPr/>
        </p:nvSpPr>
        <p:spPr>
          <a:xfrm>
            <a:off x="7970520" y="1819276"/>
            <a:ext cx="258368" cy="457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89953E9-77A7-4CF8-9F30-7D88723FD331}"/>
              </a:ext>
            </a:extLst>
          </p:cNvPr>
          <p:cNvSpPr/>
          <p:nvPr/>
        </p:nvSpPr>
        <p:spPr>
          <a:xfrm>
            <a:off x="8228888" y="1819276"/>
            <a:ext cx="258368" cy="4572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67C41D71-71D6-438D-BAB6-1051201E59A4}"/>
              </a:ext>
            </a:extLst>
          </p:cNvPr>
          <p:cNvSpPr/>
          <p:nvPr/>
        </p:nvSpPr>
        <p:spPr>
          <a:xfrm>
            <a:off x="11095432" y="4558798"/>
            <a:ext cx="258368" cy="4572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4C0483FF-788B-4ED7-A6B4-5CFBBA51029D}"/>
              </a:ext>
            </a:extLst>
          </p:cNvPr>
          <p:cNvSpPr/>
          <p:nvPr/>
        </p:nvSpPr>
        <p:spPr>
          <a:xfrm>
            <a:off x="10578697" y="4558798"/>
            <a:ext cx="258368" cy="457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5C1D73D8-F7E3-4999-9487-2DBD5EE48759}"/>
              </a:ext>
            </a:extLst>
          </p:cNvPr>
          <p:cNvSpPr/>
          <p:nvPr/>
        </p:nvSpPr>
        <p:spPr>
          <a:xfrm>
            <a:off x="10837065" y="4558798"/>
            <a:ext cx="258368" cy="4572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6" name="Picture Placeholder 4">
            <a:extLst>
              <a:ext uri="{FF2B5EF4-FFF2-40B4-BE49-F238E27FC236}">
                <a16:creationId xmlns:a16="http://schemas.microsoft.com/office/drawing/2014/main" id="{4F4CE3B0-1060-4BFF-AD25-C8A4D9A5E46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547" y="1980170"/>
            <a:ext cx="3093228" cy="2463454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/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7" name="Text Placeholder 20">
            <a:extLst>
              <a:ext uri="{FF2B5EF4-FFF2-40B4-BE49-F238E27FC236}">
                <a16:creationId xmlns:a16="http://schemas.microsoft.com/office/drawing/2014/main" id="{EE8D89F5-7513-40CB-BC40-25B4BCDCC31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38200" y="5192063"/>
            <a:ext cx="3383280" cy="39652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58" name="Text Placeholder 20">
            <a:extLst>
              <a:ext uri="{FF2B5EF4-FFF2-40B4-BE49-F238E27FC236}">
                <a16:creationId xmlns:a16="http://schemas.microsoft.com/office/drawing/2014/main" id="{371BE5B1-0318-43CC-BB05-E1842A8B42E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04360" y="5192063"/>
            <a:ext cx="3383280" cy="39652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59" name="Text Placeholder 20">
            <a:extLst>
              <a:ext uri="{FF2B5EF4-FFF2-40B4-BE49-F238E27FC236}">
                <a16:creationId xmlns:a16="http://schemas.microsoft.com/office/drawing/2014/main" id="{4981B6D6-8BA6-4210-966A-3A802728DC5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970520" y="5192063"/>
            <a:ext cx="3383280" cy="39652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Add text here</a:t>
            </a:r>
          </a:p>
        </p:txBody>
      </p:sp>
    </p:spTree>
    <p:extLst>
      <p:ext uri="{BB962C8B-B14F-4D97-AF65-F5344CB8AC3E}">
        <p14:creationId xmlns:p14="http://schemas.microsoft.com/office/powerpoint/2010/main" val="233511536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imeline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92198-5E08-49A5-999A-3A441B9AC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A00F4FD-709E-451C-ADB6-04EFB379E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700" y="365127"/>
            <a:ext cx="11150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9" name="Text Placeholder 20">
            <a:extLst>
              <a:ext uri="{FF2B5EF4-FFF2-40B4-BE49-F238E27FC236}">
                <a16:creationId xmlns:a16="http://schemas.microsoft.com/office/drawing/2014/main" id="{93D125A3-FE88-471A-B8F0-E6658064BC4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421152" y="2316494"/>
            <a:ext cx="1765256" cy="72713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Insert Month Here</a:t>
            </a:r>
            <a:endParaRPr lang="en-GB" dirty="0"/>
          </a:p>
        </p:txBody>
      </p:sp>
      <p:sp>
        <p:nvSpPr>
          <p:cNvPr id="60" name="Text Placeholder 20">
            <a:extLst>
              <a:ext uri="{FF2B5EF4-FFF2-40B4-BE49-F238E27FC236}">
                <a16:creationId xmlns:a16="http://schemas.microsoft.com/office/drawing/2014/main" id="{C549A8A3-BB0C-4101-A046-583DF42604F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213372" y="2316494"/>
            <a:ext cx="1765256" cy="72713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Insert Month Here</a:t>
            </a:r>
            <a:endParaRPr lang="en-GB" dirty="0"/>
          </a:p>
        </p:txBody>
      </p:sp>
      <p:sp>
        <p:nvSpPr>
          <p:cNvPr id="62" name="Text Placeholder 20">
            <a:extLst>
              <a:ext uri="{FF2B5EF4-FFF2-40B4-BE49-F238E27FC236}">
                <a16:creationId xmlns:a16="http://schemas.microsoft.com/office/drawing/2014/main" id="{25CBF8A6-65A4-4273-B853-F7256AC4B41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005592" y="2316494"/>
            <a:ext cx="1765256" cy="72713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Insert Month Here</a:t>
            </a:r>
            <a:endParaRPr lang="en-GB" dirty="0"/>
          </a:p>
        </p:txBody>
      </p:sp>
      <p:sp>
        <p:nvSpPr>
          <p:cNvPr id="63" name="Text Placeholder 20">
            <a:extLst>
              <a:ext uri="{FF2B5EF4-FFF2-40B4-BE49-F238E27FC236}">
                <a16:creationId xmlns:a16="http://schemas.microsoft.com/office/drawing/2014/main" id="{49AB2AAA-8826-4084-A6B6-6474D4FFA66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20700" y="4625327"/>
            <a:ext cx="3566160" cy="1569098"/>
          </a:xfrm>
        </p:spPr>
        <p:txBody>
          <a:bodyPr anchor="t">
            <a:noAutofit/>
          </a:bodyPr>
          <a:lstStyle>
            <a:lvl1pPr marL="0" indent="0" algn="ctr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Insert Text Here</a:t>
            </a:r>
            <a:endParaRPr lang="en-GB" dirty="0"/>
          </a:p>
        </p:txBody>
      </p:sp>
      <p:sp>
        <p:nvSpPr>
          <p:cNvPr id="64" name="Text Placeholder 20">
            <a:extLst>
              <a:ext uri="{FF2B5EF4-FFF2-40B4-BE49-F238E27FC236}">
                <a16:creationId xmlns:a16="http://schemas.microsoft.com/office/drawing/2014/main" id="{F8551EBC-A275-4920-A819-8AFBCDEDC91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12920" y="4625327"/>
            <a:ext cx="3566160" cy="1569098"/>
          </a:xfrm>
        </p:spPr>
        <p:txBody>
          <a:bodyPr anchor="t">
            <a:noAutofit/>
          </a:bodyPr>
          <a:lstStyle>
            <a:lvl1pPr marL="0" indent="0" algn="ctr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Insert Text Here</a:t>
            </a:r>
            <a:endParaRPr lang="en-GB" dirty="0"/>
          </a:p>
        </p:txBody>
      </p:sp>
      <p:sp>
        <p:nvSpPr>
          <p:cNvPr id="66" name="Text Placeholder 20">
            <a:extLst>
              <a:ext uri="{FF2B5EF4-FFF2-40B4-BE49-F238E27FC236}">
                <a16:creationId xmlns:a16="http://schemas.microsoft.com/office/drawing/2014/main" id="{2D2456DD-4B4A-46C1-A8F5-E7995E98609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05140" y="4625327"/>
            <a:ext cx="3566160" cy="1569098"/>
          </a:xfrm>
        </p:spPr>
        <p:txBody>
          <a:bodyPr anchor="t">
            <a:noAutofit/>
          </a:bodyPr>
          <a:lstStyle>
            <a:lvl1pPr marL="0" indent="0" algn="ctr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Insert Text Here</a:t>
            </a:r>
            <a:endParaRPr lang="en-GB" dirty="0"/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B77DF217-1963-4708-B85C-BA7DF0EAB5B2}"/>
              </a:ext>
            </a:extLst>
          </p:cNvPr>
          <p:cNvCxnSpPr>
            <a:cxnSpLocks/>
          </p:cNvCxnSpPr>
          <p:nvPr userDrawn="1"/>
        </p:nvCxnSpPr>
        <p:spPr>
          <a:xfrm flipH="1">
            <a:off x="2303780" y="4043499"/>
            <a:ext cx="0" cy="58182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9D55F1E5-BAEB-4FB2-8348-E3FE03A143B3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6000" y="4043499"/>
            <a:ext cx="0" cy="58182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D17CC174-37AA-4FA5-B57F-C710AADE5B29}"/>
              </a:ext>
            </a:extLst>
          </p:cNvPr>
          <p:cNvCxnSpPr>
            <a:cxnSpLocks/>
          </p:cNvCxnSpPr>
          <p:nvPr userDrawn="1"/>
        </p:nvCxnSpPr>
        <p:spPr>
          <a:xfrm flipH="1">
            <a:off x="9888220" y="4043499"/>
            <a:ext cx="0" cy="58182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71A0856A-37FD-44C7-AA5F-A1D4D5ACB765}"/>
              </a:ext>
            </a:extLst>
          </p:cNvPr>
          <p:cNvGrpSpPr/>
          <p:nvPr userDrawn="1"/>
        </p:nvGrpSpPr>
        <p:grpSpPr>
          <a:xfrm>
            <a:off x="1233833" y="1903604"/>
            <a:ext cx="2139897" cy="2139897"/>
            <a:chOff x="2762225" y="1903602"/>
            <a:chExt cx="2139897" cy="2139897"/>
          </a:xfrm>
        </p:grpSpPr>
        <p:sp>
          <p:nvSpPr>
            <p:cNvPr id="36" name="Arc 35">
              <a:extLst>
                <a:ext uri="{FF2B5EF4-FFF2-40B4-BE49-F238E27FC236}">
                  <a16:creationId xmlns:a16="http://schemas.microsoft.com/office/drawing/2014/main" id="{95B21021-F56D-4DE0-9556-7A88E088DE82}"/>
                </a:ext>
              </a:extLst>
            </p:cNvPr>
            <p:cNvSpPr/>
            <p:nvPr userDrawn="1"/>
          </p:nvSpPr>
          <p:spPr>
            <a:xfrm>
              <a:off x="2762225" y="1903602"/>
              <a:ext cx="2139897" cy="2139897"/>
            </a:xfrm>
            <a:prstGeom prst="arc">
              <a:avLst>
                <a:gd name="adj1" fmla="val 10821307"/>
                <a:gd name="adj2" fmla="val 21262236"/>
              </a:avLst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 dirty="0"/>
            </a:p>
          </p:txBody>
        </p:sp>
        <p:sp>
          <p:nvSpPr>
            <p:cNvPr id="37" name="Arc 36">
              <a:extLst>
                <a:ext uri="{FF2B5EF4-FFF2-40B4-BE49-F238E27FC236}">
                  <a16:creationId xmlns:a16="http://schemas.microsoft.com/office/drawing/2014/main" id="{FF2A0780-162E-4178-8D44-C087E927A225}"/>
                </a:ext>
              </a:extLst>
            </p:cNvPr>
            <p:cNvSpPr/>
            <p:nvPr userDrawn="1"/>
          </p:nvSpPr>
          <p:spPr>
            <a:xfrm>
              <a:off x="2762225" y="1903602"/>
              <a:ext cx="2139897" cy="2139897"/>
            </a:xfrm>
            <a:prstGeom prst="arc">
              <a:avLst>
                <a:gd name="adj1" fmla="val 350464"/>
                <a:gd name="adj2" fmla="val 10831770"/>
              </a:avLst>
            </a:prstGeom>
            <a:ln w="6350">
              <a:solidFill>
                <a:schemeClr val="tx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lvl="0" algn="ctr"/>
              <a:endParaRPr lang="en-GB" sz="1800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8B0AD2A-1463-4F47-A663-78BB0891AE5C}"/>
              </a:ext>
            </a:extLst>
          </p:cNvPr>
          <p:cNvGrpSpPr/>
          <p:nvPr userDrawn="1"/>
        </p:nvGrpSpPr>
        <p:grpSpPr>
          <a:xfrm>
            <a:off x="5026053" y="1903604"/>
            <a:ext cx="2139897" cy="2139897"/>
            <a:chOff x="5003751" y="1903602"/>
            <a:chExt cx="2139897" cy="2139897"/>
          </a:xfrm>
        </p:grpSpPr>
        <p:sp>
          <p:nvSpPr>
            <p:cNvPr id="45" name="Arc 44">
              <a:extLst>
                <a:ext uri="{FF2B5EF4-FFF2-40B4-BE49-F238E27FC236}">
                  <a16:creationId xmlns:a16="http://schemas.microsoft.com/office/drawing/2014/main" id="{5FA2D6F3-CF09-4BE0-994B-0318B344227F}"/>
                </a:ext>
              </a:extLst>
            </p:cNvPr>
            <p:cNvSpPr/>
            <p:nvPr userDrawn="1"/>
          </p:nvSpPr>
          <p:spPr>
            <a:xfrm>
              <a:off x="5003751" y="1903602"/>
              <a:ext cx="2139897" cy="2139897"/>
            </a:xfrm>
            <a:prstGeom prst="arc">
              <a:avLst>
                <a:gd name="adj1" fmla="val 11169507"/>
                <a:gd name="adj2" fmla="val 21304215"/>
              </a:avLst>
            </a:prstGeom>
            <a:ln w="6350">
              <a:solidFill>
                <a:schemeClr val="tx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lvl="0" algn="ctr"/>
              <a:endParaRPr lang="en-GB" sz="1800"/>
            </a:p>
          </p:txBody>
        </p:sp>
        <p:sp>
          <p:nvSpPr>
            <p:cNvPr id="46" name="Arc 45">
              <a:extLst>
                <a:ext uri="{FF2B5EF4-FFF2-40B4-BE49-F238E27FC236}">
                  <a16:creationId xmlns:a16="http://schemas.microsoft.com/office/drawing/2014/main" id="{9CBFA4DF-3824-4C0B-B38C-1ABCECDE4DB6}"/>
                </a:ext>
              </a:extLst>
            </p:cNvPr>
            <p:cNvSpPr/>
            <p:nvPr userDrawn="1"/>
          </p:nvSpPr>
          <p:spPr>
            <a:xfrm>
              <a:off x="5003751" y="1903602"/>
              <a:ext cx="2139897" cy="2139897"/>
            </a:xfrm>
            <a:prstGeom prst="arc">
              <a:avLst>
                <a:gd name="adj1" fmla="val 471098"/>
                <a:gd name="adj2" fmla="val 10441694"/>
              </a:avLst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 dirty="0"/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F5666CA-82BB-49A0-91A3-0E479B28D92A}"/>
              </a:ext>
            </a:extLst>
          </p:cNvPr>
          <p:cNvGrpSpPr/>
          <p:nvPr userDrawn="1"/>
        </p:nvGrpSpPr>
        <p:grpSpPr>
          <a:xfrm>
            <a:off x="8818273" y="1903604"/>
            <a:ext cx="2139897" cy="2139897"/>
            <a:chOff x="8029619" y="1903602"/>
            <a:chExt cx="2139897" cy="2139897"/>
          </a:xfrm>
        </p:grpSpPr>
        <p:sp>
          <p:nvSpPr>
            <p:cNvPr id="57" name="Arc 56">
              <a:extLst>
                <a:ext uri="{FF2B5EF4-FFF2-40B4-BE49-F238E27FC236}">
                  <a16:creationId xmlns:a16="http://schemas.microsoft.com/office/drawing/2014/main" id="{A8EE1277-FE82-4822-A85D-B1B0E940EA07}"/>
                </a:ext>
              </a:extLst>
            </p:cNvPr>
            <p:cNvSpPr/>
            <p:nvPr userDrawn="1"/>
          </p:nvSpPr>
          <p:spPr>
            <a:xfrm>
              <a:off x="8029619" y="1903602"/>
              <a:ext cx="2139897" cy="2139897"/>
            </a:xfrm>
            <a:prstGeom prst="arc">
              <a:avLst>
                <a:gd name="adj1" fmla="val 11169507"/>
                <a:gd name="adj2" fmla="val 146547"/>
              </a:avLst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58" name="Arc 57">
              <a:extLst>
                <a:ext uri="{FF2B5EF4-FFF2-40B4-BE49-F238E27FC236}">
                  <a16:creationId xmlns:a16="http://schemas.microsoft.com/office/drawing/2014/main" id="{A6455670-9200-4075-8FD1-258D64C3BC53}"/>
                </a:ext>
              </a:extLst>
            </p:cNvPr>
            <p:cNvSpPr/>
            <p:nvPr userDrawn="1"/>
          </p:nvSpPr>
          <p:spPr>
            <a:xfrm>
              <a:off x="8029619" y="1903602"/>
              <a:ext cx="2139897" cy="2139897"/>
            </a:xfrm>
            <a:prstGeom prst="arc">
              <a:avLst>
                <a:gd name="adj1" fmla="val 21586752"/>
                <a:gd name="adj2" fmla="val 10460422"/>
              </a:avLst>
            </a:prstGeom>
            <a:ln w="6350">
              <a:solidFill>
                <a:schemeClr val="tx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</p:grpSp>
      <p:sp>
        <p:nvSpPr>
          <p:cNvPr id="40" name="Arrow: Right 8">
            <a:extLst>
              <a:ext uri="{FF2B5EF4-FFF2-40B4-BE49-F238E27FC236}">
                <a16:creationId xmlns:a16="http://schemas.microsoft.com/office/drawing/2014/main" id="{621F2E5B-F1E7-465D-9DB0-B237ADED9E13}"/>
              </a:ext>
            </a:extLst>
          </p:cNvPr>
          <p:cNvSpPr/>
          <p:nvPr userDrawn="1"/>
        </p:nvSpPr>
        <p:spPr>
          <a:xfrm>
            <a:off x="1615457" y="2764342"/>
            <a:ext cx="3697155" cy="418421"/>
          </a:xfrm>
          <a:custGeom>
            <a:avLst/>
            <a:gdLst>
              <a:gd name="connsiteX0" fmla="*/ 0 w 3697154"/>
              <a:gd name="connsiteY0" fmla="*/ 104605 h 418421"/>
              <a:gd name="connsiteX1" fmla="*/ 3487944 w 3697154"/>
              <a:gd name="connsiteY1" fmla="*/ 104605 h 418421"/>
              <a:gd name="connsiteX2" fmla="*/ 3487944 w 3697154"/>
              <a:gd name="connsiteY2" fmla="*/ 0 h 418421"/>
              <a:gd name="connsiteX3" fmla="*/ 3697154 w 3697154"/>
              <a:gd name="connsiteY3" fmla="*/ 209211 h 418421"/>
              <a:gd name="connsiteX4" fmla="*/ 3487944 w 3697154"/>
              <a:gd name="connsiteY4" fmla="*/ 418421 h 418421"/>
              <a:gd name="connsiteX5" fmla="*/ 3487944 w 3697154"/>
              <a:gd name="connsiteY5" fmla="*/ 313816 h 418421"/>
              <a:gd name="connsiteX6" fmla="*/ 0 w 3697154"/>
              <a:gd name="connsiteY6" fmla="*/ 313816 h 418421"/>
              <a:gd name="connsiteX7" fmla="*/ 0 w 3697154"/>
              <a:gd name="connsiteY7" fmla="*/ 104605 h 418421"/>
              <a:gd name="connsiteX0" fmla="*/ 0 w 3697154"/>
              <a:gd name="connsiteY0" fmla="*/ 104605 h 418421"/>
              <a:gd name="connsiteX1" fmla="*/ 1737342 w 3697154"/>
              <a:gd name="connsiteY1" fmla="*/ 100780 h 418421"/>
              <a:gd name="connsiteX2" fmla="*/ 3487944 w 3697154"/>
              <a:gd name="connsiteY2" fmla="*/ 104605 h 418421"/>
              <a:gd name="connsiteX3" fmla="*/ 3487944 w 3697154"/>
              <a:gd name="connsiteY3" fmla="*/ 0 h 418421"/>
              <a:gd name="connsiteX4" fmla="*/ 3697154 w 3697154"/>
              <a:gd name="connsiteY4" fmla="*/ 209211 h 418421"/>
              <a:gd name="connsiteX5" fmla="*/ 3487944 w 3697154"/>
              <a:gd name="connsiteY5" fmla="*/ 418421 h 418421"/>
              <a:gd name="connsiteX6" fmla="*/ 3487944 w 3697154"/>
              <a:gd name="connsiteY6" fmla="*/ 313816 h 418421"/>
              <a:gd name="connsiteX7" fmla="*/ 0 w 3697154"/>
              <a:gd name="connsiteY7" fmla="*/ 313816 h 418421"/>
              <a:gd name="connsiteX8" fmla="*/ 0 w 3697154"/>
              <a:gd name="connsiteY8" fmla="*/ 104605 h 418421"/>
              <a:gd name="connsiteX0" fmla="*/ 0 w 3697154"/>
              <a:gd name="connsiteY0" fmla="*/ 104605 h 418421"/>
              <a:gd name="connsiteX1" fmla="*/ 1737342 w 3697154"/>
              <a:gd name="connsiteY1" fmla="*/ 100780 h 418421"/>
              <a:gd name="connsiteX2" fmla="*/ 3487944 w 3697154"/>
              <a:gd name="connsiteY2" fmla="*/ 104605 h 418421"/>
              <a:gd name="connsiteX3" fmla="*/ 3487944 w 3697154"/>
              <a:gd name="connsiteY3" fmla="*/ 0 h 418421"/>
              <a:gd name="connsiteX4" fmla="*/ 3697154 w 3697154"/>
              <a:gd name="connsiteY4" fmla="*/ 209211 h 418421"/>
              <a:gd name="connsiteX5" fmla="*/ 3487944 w 3697154"/>
              <a:gd name="connsiteY5" fmla="*/ 418421 h 418421"/>
              <a:gd name="connsiteX6" fmla="*/ 3487944 w 3697154"/>
              <a:gd name="connsiteY6" fmla="*/ 313816 h 418421"/>
              <a:gd name="connsiteX7" fmla="*/ 0 w 3697154"/>
              <a:gd name="connsiteY7" fmla="*/ 313816 h 418421"/>
              <a:gd name="connsiteX8" fmla="*/ 91440 w 3697154"/>
              <a:gd name="connsiteY8" fmla="*/ 196045 h 418421"/>
              <a:gd name="connsiteX0" fmla="*/ 0 w 3697154"/>
              <a:gd name="connsiteY0" fmla="*/ 104605 h 418421"/>
              <a:gd name="connsiteX1" fmla="*/ 1737342 w 3697154"/>
              <a:gd name="connsiteY1" fmla="*/ 100780 h 418421"/>
              <a:gd name="connsiteX2" fmla="*/ 3487944 w 3697154"/>
              <a:gd name="connsiteY2" fmla="*/ 104605 h 418421"/>
              <a:gd name="connsiteX3" fmla="*/ 3487944 w 3697154"/>
              <a:gd name="connsiteY3" fmla="*/ 0 h 418421"/>
              <a:gd name="connsiteX4" fmla="*/ 3697154 w 3697154"/>
              <a:gd name="connsiteY4" fmla="*/ 209211 h 418421"/>
              <a:gd name="connsiteX5" fmla="*/ 3487944 w 3697154"/>
              <a:gd name="connsiteY5" fmla="*/ 418421 h 418421"/>
              <a:gd name="connsiteX6" fmla="*/ 3487944 w 3697154"/>
              <a:gd name="connsiteY6" fmla="*/ 313816 h 418421"/>
              <a:gd name="connsiteX7" fmla="*/ 0 w 3697154"/>
              <a:gd name="connsiteY7" fmla="*/ 313816 h 418421"/>
              <a:gd name="connsiteX0" fmla="*/ 1737342 w 3697154"/>
              <a:gd name="connsiteY0" fmla="*/ 100780 h 418421"/>
              <a:gd name="connsiteX1" fmla="*/ 3487944 w 3697154"/>
              <a:gd name="connsiteY1" fmla="*/ 104605 h 418421"/>
              <a:gd name="connsiteX2" fmla="*/ 3487944 w 3697154"/>
              <a:gd name="connsiteY2" fmla="*/ 0 h 418421"/>
              <a:gd name="connsiteX3" fmla="*/ 3697154 w 3697154"/>
              <a:gd name="connsiteY3" fmla="*/ 209211 h 418421"/>
              <a:gd name="connsiteX4" fmla="*/ 3487944 w 3697154"/>
              <a:gd name="connsiteY4" fmla="*/ 418421 h 418421"/>
              <a:gd name="connsiteX5" fmla="*/ 3487944 w 3697154"/>
              <a:gd name="connsiteY5" fmla="*/ 313816 h 418421"/>
              <a:gd name="connsiteX6" fmla="*/ 0 w 3697154"/>
              <a:gd name="connsiteY6" fmla="*/ 313816 h 418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97154" h="418421">
                <a:moveTo>
                  <a:pt x="1737342" y="100780"/>
                </a:moveTo>
                <a:lnTo>
                  <a:pt x="3487944" y="104605"/>
                </a:lnTo>
                <a:lnTo>
                  <a:pt x="3487944" y="0"/>
                </a:lnTo>
                <a:lnTo>
                  <a:pt x="3697154" y="209211"/>
                </a:lnTo>
                <a:lnTo>
                  <a:pt x="3487944" y="418421"/>
                </a:lnTo>
                <a:lnTo>
                  <a:pt x="3487944" y="313816"/>
                </a:lnTo>
                <a:lnTo>
                  <a:pt x="0" y="313816"/>
                </a:lnTo>
              </a:path>
            </a:pathLst>
          </a:cu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33" name="Arrow: Right 8">
            <a:extLst>
              <a:ext uri="{FF2B5EF4-FFF2-40B4-BE49-F238E27FC236}">
                <a16:creationId xmlns:a16="http://schemas.microsoft.com/office/drawing/2014/main" id="{5A9335EB-FE49-4C21-A240-0BCAB52E2FBA}"/>
              </a:ext>
            </a:extLst>
          </p:cNvPr>
          <p:cNvSpPr/>
          <p:nvPr userDrawn="1"/>
        </p:nvSpPr>
        <p:spPr>
          <a:xfrm>
            <a:off x="5411033" y="2764342"/>
            <a:ext cx="3697155" cy="418421"/>
          </a:xfrm>
          <a:custGeom>
            <a:avLst/>
            <a:gdLst>
              <a:gd name="connsiteX0" fmla="*/ 0 w 3697154"/>
              <a:gd name="connsiteY0" fmla="*/ 104605 h 418421"/>
              <a:gd name="connsiteX1" fmla="*/ 3487944 w 3697154"/>
              <a:gd name="connsiteY1" fmla="*/ 104605 h 418421"/>
              <a:gd name="connsiteX2" fmla="*/ 3487944 w 3697154"/>
              <a:gd name="connsiteY2" fmla="*/ 0 h 418421"/>
              <a:gd name="connsiteX3" fmla="*/ 3697154 w 3697154"/>
              <a:gd name="connsiteY3" fmla="*/ 209211 h 418421"/>
              <a:gd name="connsiteX4" fmla="*/ 3487944 w 3697154"/>
              <a:gd name="connsiteY4" fmla="*/ 418421 h 418421"/>
              <a:gd name="connsiteX5" fmla="*/ 3487944 w 3697154"/>
              <a:gd name="connsiteY5" fmla="*/ 313816 h 418421"/>
              <a:gd name="connsiteX6" fmla="*/ 0 w 3697154"/>
              <a:gd name="connsiteY6" fmla="*/ 313816 h 418421"/>
              <a:gd name="connsiteX7" fmla="*/ 0 w 3697154"/>
              <a:gd name="connsiteY7" fmla="*/ 104605 h 418421"/>
              <a:gd name="connsiteX0" fmla="*/ 0 w 3697154"/>
              <a:gd name="connsiteY0" fmla="*/ 104605 h 418421"/>
              <a:gd name="connsiteX1" fmla="*/ 1737342 w 3697154"/>
              <a:gd name="connsiteY1" fmla="*/ 100780 h 418421"/>
              <a:gd name="connsiteX2" fmla="*/ 3487944 w 3697154"/>
              <a:gd name="connsiteY2" fmla="*/ 104605 h 418421"/>
              <a:gd name="connsiteX3" fmla="*/ 3487944 w 3697154"/>
              <a:gd name="connsiteY3" fmla="*/ 0 h 418421"/>
              <a:gd name="connsiteX4" fmla="*/ 3697154 w 3697154"/>
              <a:gd name="connsiteY4" fmla="*/ 209211 h 418421"/>
              <a:gd name="connsiteX5" fmla="*/ 3487944 w 3697154"/>
              <a:gd name="connsiteY5" fmla="*/ 418421 h 418421"/>
              <a:gd name="connsiteX6" fmla="*/ 3487944 w 3697154"/>
              <a:gd name="connsiteY6" fmla="*/ 313816 h 418421"/>
              <a:gd name="connsiteX7" fmla="*/ 0 w 3697154"/>
              <a:gd name="connsiteY7" fmla="*/ 313816 h 418421"/>
              <a:gd name="connsiteX8" fmla="*/ 0 w 3697154"/>
              <a:gd name="connsiteY8" fmla="*/ 104605 h 418421"/>
              <a:gd name="connsiteX0" fmla="*/ 0 w 3697154"/>
              <a:gd name="connsiteY0" fmla="*/ 104605 h 418421"/>
              <a:gd name="connsiteX1" fmla="*/ 1737342 w 3697154"/>
              <a:gd name="connsiteY1" fmla="*/ 100780 h 418421"/>
              <a:gd name="connsiteX2" fmla="*/ 3487944 w 3697154"/>
              <a:gd name="connsiteY2" fmla="*/ 104605 h 418421"/>
              <a:gd name="connsiteX3" fmla="*/ 3487944 w 3697154"/>
              <a:gd name="connsiteY3" fmla="*/ 0 h 418421"/>
              <a:gd name="connsiteX4" fmla="*/ 3697154 w 3697154"/>
              <a:gd name="connsiteY4" fmla="*/ 209211 h 418421"/>
              <a:gd name="connsiteX5" fmla="*/ 3487944 w 3697154"/>
              <a:gd name="connsiteY5" fmla="*/ 418421 h 418421"/>
              <a:gd name="connsiteX6" fmla="*/ 3487944 w 3697154"/>
              <a:gd name="connsiteY6" fmla="*/ 313816 h 418421"/>
              <a:gd name="connsiteX7" fmla="*/ 0 w 3697154"/>
              <a:gd name="connsiteY7" fmla="*/ 313816 h 418421"/>
              <a:gd name="connsiteX8" fmla="*/ 91440 w 3697154"/>
              <a:gd name="connsiteY8" fmla="*/ 196045 h 418421"/>
              <a:gd name="connsiteX0" fmla="*/ 0 w 3697154"/>
              <a:gd name="connsiteY0" fmla="*/ 104605 h 418421"/>
              <a:gd name="connsiteX1" fmla="*/ 1737342 w 3697154"/>
              <a:gd name="connsiteY1" fmla="*/ 100780 h 418421"/>
              <a:gd name="connsiteX2" fmla="*/ 3487944 w 3697154"/>
              <a:gd name="connsiteY2" fmla="*/ 104605 h 418421"/>
              <a:gd name="connsiteX3" fmla="*/ 3487944 w 3697154"/>
              <a:gd name="connsiteY3" fmla="*/ 0 h 418421"/>
              <a:gd name="connsiteX4" fmla="*/ 3697154 w 3697154"/>
              <a:gd name="connsiteY4" fmla="*/ 209211 h 418421"/>
              <a:gd name="connsiteX5" fmla="*/ 3487944 w 3697154"/>
              <a:gd name="connsiteY5" fmla="*/ 418421 h 418421"/>
              <a:gd name="connsiteX6" fmla="*/ 3487944 w 3697154"/>
              <a:gd name="connsiteY6" fmla="*/ 313816 h 418421"/>
              <a:gd name="connsiteX7" fmla="*/ 0 w 3697154"/>
              <a:gd name="connsiteY7" fmla="*/ 313816 h 418421"/>
              <a:gd name="connsiteX0" fmla="*/ 1737342 w 3697154"/>
              <a:gd name="connsiteY0" fmla="*/ 100780 h 418421"/>
              <a:gd name="connsiteX1" fmla="*/ 3487944 w 3697154"/>
              <a:gd name="connsiteY1" fmla="*/ 104605 h 418421"/>
              <a:gd name="connsiteX2" fmla="*/ 3487944 w 3697154"/>
              <a:gd name="connsiteY2" fmla="*/ 0 h 418421"/>
              <a:gd name="connsiteX3" fmla="*/ 3697154 w 3697154"/>
              <a:gd name="connsiteY3" fmla="*/ 209211 h 418421"/>
              <a:gd name="connsiteX4" fmla="*/ 3487944 w 3697154"/>
              <a:gd name="connsiteY4" fmla="*/ 418421 h 418421"/>
              <a:gd name="connsiteX5" fmla="*/ 3487944 w 3697154"/>
              <a:gd name="connsiteY5" fmla="*/ 313816 h 418421"/>
              <a:gd name="connsiteX6" fmla="*/ 0 w 3697154"/>
              <a:gd name="connsiteY6" fmla="*/ 313816 h 418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97154" h="418421">
                <a:moveTo>
                  <a:pt x="1737342" y="100780"/>
                </a:moveTo>
                <a:lnTo>
                  <a:pt x="3487944" y="104605"/>
                </a:lnTo>
                <a:lnTo>
                  <a:pt x="3487944" y="0"/>
                </a:lnTo>
                <a:lnTo>
                  <a:pt x="3697154" y="209211"/>
                </a:lnTo>
                <a:lnTo>
                  <a:pt x="3487944" y="418421"/>
                </a:lnTo>
                <a:lnTo>
                  <a:pt x="3487944" y="313816"/>
                </a:lnTo>
                <a:lnTo>
                  <a:pt x="0" y="313816"/>
                </a:lnTo>
              </a:path>
            </a:pathLst>
          </a:cu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41989210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imeline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92198-5E08-49A5-999A-3A441B9AC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en-US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FF53719-C8BB-4A8C-A2A8-5A55448EC0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8020" y="2316494"/>
            <a:ext cx="1765256" cy="72713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Insert Month Here</a:t>
            </a:r>
            <a:endParaRPr lang="en-GB" dirty="0"/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B58FC142-C162-476F-96BB-BFC5E1F2803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0701" y="4625327"/>
            <a:ext cx="2139897" cy="1569098"/>
          </a:xfrm>
        </p:spPr>
        <p:txBody>
          <a:bodyPr anchor="t">
            <a:noAutofit/>
          </a:bodyPr>
          <a:lstStyle>
            <a:lvl1pPr marL="0" indent="0" algn="ctr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Insert Text Here</a:t>
            </a:r>
            <a:endParaRPr lang="en-GB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A00F4FD-709E-451C-ADB6-04EFB379E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700" y="365127"/>
            <a:ext cx="11150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08CD735-7E9B-475A-80E2-0530E4F646A2}"/>
              </a:ext>
            </a:extLst>
          </p:cNvPr>
          <p:cNvGrpSpPr/>
          <p:nvPr userDrawn="1"/>
        </p:nvGrpSpPr>
        <p:grpSpPr>
          <a:xfrm>
            <a:off x="520701" y="1903604"/>
            <a:ext cx="2139897" cy="2139897"/>
            <a:chOff x="520700" y="1903602"/>
            <a:chExt cx="2139897" cy="2139897"/>
          </a:xfrm>
        </p:grpSpPr>
        <p:sp>
          <p:nvSpPr>
            <p:cNvPr id="7" name="Arc 6">
              <a:extLst>
                <a:ext uri="{FF2B5EF4-FFF2-40B4-BE49-F238E27FC236}">
                  <a16:creationId xmlns:a16="http://schemas.microsoft.com/office/drawing/2014/main" id="{493DC188-5367-4EDC-9171-C6332D7031C4}"/>
                </a:ext>
              </a:extLst>
            </p:cNvPr>
            <p:cNvSpPr/>
            <p:nvPr userDrawn="1"/>
          </p:nvSpPr>
          <p:spPr>
            <a:xfrm>
              <a:off x="520700" y="1903602"/>
              <a:ext cx="2139897" cy="2139897"/>
            </a:xfrm>
            <a:prstGeom prst="arc">
              <a:avLst>
                <a:gd name="adj1" fmla="val 10080820"/>
                <a:gd name="adj2" fmla="val 21286878"/>
              </a:avLst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32" name="Arc 31">
              <a:extLst>
                <a:ext uri="{FF2B5EF4-FFF2-40B4-BE49-F238E27FC236}">
                  <a16:creationId xmlns:a16="http://schemas.microsoft.com/office/drawing/2014/main" id="{42EFB4E2-E6DC-481F-9CD7-B41C1C8C7626}"/>
                </a:ext>
              </a:extLst>
            </p:cNvPr>
            <p:cNvSpPr/>
            <p:nvPr userDrawn="1"/>
          </p:nvSpPr>
          <p:spPr>
            <a:xfrm>
              <a:off x="520700" y="1903602"/>
              <a:ext cx="2139897" cy="2139897"/>
            </a:xfrm>
            <a:prstGeom prst="arc">
              <a:avLst>
                <a:gd name="adj1" fmla="val 373939"/>
                <a:gd name="adj2" fmla="val 9969063"/>
              </a:avLst>
            </a:prstGeom>
            <a:ln w="6350">
              <a:solidFill>
                <a:schemeClr val="tx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71A0856A-37FD-44C7-AA5F-A1D4D5ACB765}"/>
              </a:ext>
            </a:extLst>
          </p:cNvPr>
          <p:cNvGrpSpPr/>
          <p:nvPr userDrawn="1"/>
        </p:nvGrpSpPr>
        <p:grpSpPr>
          <a:xfrm>
            <a:off x="3524269" y="1903604"/>
            <a:ext cx="2139897" cy="2139897"/>
            <a:chOff x="2762225" y="1903602"/>
            <a:chExt cx="2139897" cy="2139897"/>
          </a:xfrm>
        </p:grpSpPr>
        <p:sp>
          <p:nvSpPr>
            <p:cNvPr id="36" name="Arc 35">
              <a:extLst>
                <a:ext uri="{FF2B5EF4-FFF2-40B4-BE49-F238E27FC236}">
                  <a16:creationId xmlns:a16="http://schemas.microsoft.com/office/drawing/2014/main" id="{95B21021-F56D-4DE0-9556-7A88E088DE82}"/>
                </a:ext>
              </a:extLst>
            </p:cNvPr>
            <p:cNvSpPr/>
            <p:nvPr userDrawn="1"/>
          </p:nvSpPr>
          <p:spPr>
            <a:xfrm>
              <a:off x="2762225" y="1903602"/>
              <a:ext cx="2139897" cy="2139897"/>
            </a:xfrm>
            <a:prstGeom prst="arc">
              <a:avLst>
                <a:gd name="adj1" fmla="val 11152410"/>
                <a:gd name="adj2" fmla="val 21262236"/>
              </a:avLst>
            </a:prstGeom>
            <a:ln w="6350">
              <a:solidFill>
                <a:schemeClr val="tx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37" name="Arc 36">
              <a:extLst>
                <a:ext uri="{FF2B5EF4-FFF2-40B4-BE49-F238E27FC236}">
                  <a16:creationId xmlns:a16="http://schemas.microsoft.com/office/drawing/2014/main" id="{FF2A0780-162E-4178-8D44-C087E927A225}"/>
                </a:ext>
              </a:extLst>
            </p:cNvPr>
            <p:cNvSpPr/>
            <p:nvPr userDrawn="1"/>
          </p:nvSpPr>
          <p:spPr>
            <a:xfrm>
              <a:off x="2762225" y="1903602"/>
              <a:ext cx="2139897" cy="2139897"/>
            </a:xfrm>
            <a:prstGeom prst="arc">
              <a:avLst>
                <a:gd name="adj1" fmla="val 350464"/>
                <a:gd name="adj2" fmla="val 10463156"/>
              </a:avLst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8B0AD2A-1463-4F47-A663-78BB0891AE5C}"/>
              </a:ext>
            </a:extLst>
          </p:cNvPr>
          <p:cNvGrpSpPr/>
          <p:nvPr userDrawn="1"/>
        </p:nvGrpSpPr>
        <p:grpSpPr>
          <a:xfrm>
            <a:off x="6527837" y="1903604"/>
            <a:ext cx="2139897" cy="2139897"/>
            <a:chOff x="5003751" y="1903602"/>
            <a:chExt cx="2139897" cy="2139897"/>
          </a:xfrm>
        </p:grpSpPr>
        <p:sp>
          <p:nvSpPr>
            <p:cNvPr id="45" name="Arc 44">
              <a:extLst>
                <a:ext uri="{FF2B5EF4-FFF2-40B4-BE49-F238E27FC236}">
                  <a16:creationId xmlns:a16="http://schemas.microsoft.com/office/drawing/2014/main" id="{5FA2D6F3-CF09-4BE0-994B-0318B344227F}"/>
                </a:ext>
              </a:extLst>
            </p:cNvPr>
            <p:cNvSpPr/>
            <p:nvPr userDrawn="1"/>
          </p:nvSpPr>
          <p:spPr>
            <a:xfrm>
              <a:off x="5003751" y="1903602"/>
              <a:ext cx="2139897" cy="2139897"/>
            </a:xfrm>
            <a:prstGeom prst="arc">
              <a:avLst>
                <a:gd name="adj1" fmla="val 11169507"/>
                <a:gd name="adj2" fmla="val 21304215"/>
              </a:avLst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6" name="Arc 45">
              <a:extLst>
                <a:ext uri="{FF2B5EF4-FFF2-40B4-BE49-F238E27FC236}">
                  <a16:creationId xmlns:a16="http://schemas.microsoft.com/office/drawing/2014/main" id="{9CBFA4DF-3824-4C0B-B38C-1ABCECDE4DB6}"/>
                </a:ext>
              </a:extLst>
            </p:cNvPr>
            <p:cNvSpPr/>
            <p:nvPr userDrawn="1"/>
          </p:nvSpPr>
          <p:spPr>
            <a:xfrm>
              <a:off x="5003751" y="1903602"/>
              <a:ext cx="2139897" cy="2139897"/>
            </a:xfrm>
            <a:prstGeom prst="arc">
              <a:avLst>
                <a:gd name="adj1" fmla="val 471098"/>
                <a:gd name="adj2" fmla="val 10441694"/>
              </a:avLst>
            </a:prstGeom>
            <a:ln w="6350">
              <a:solidFill>
                <a:schemeClr val="tx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</p:grpSp>
      <p:sp>
        <p:nvSpPr>
          <p:cNvPr id="57" name="Arc 56">
            <a:extLst>
              <a:ext uri="{FF2B5EF4-FFF2-40B4-BE49-F238E27FC236}">
                <a16:creationId xmlns:a16="http://schemas.microsoft.com/office/drawing/2014/main" id="{A8EE1277-FE82-4822-A85D-B1B0E940EA07}"/>
              </a:ext>
            </a:extLst>
          </p:cNvPr>
          <p:cNvSpPr/>
          <p:nvPr userDrawn="1"/>
        </p:nvSpPr>
        <p:spPr>
          <a:xfrm>
            <a:off x="9531405" y="1903604"/>
            <a:ext cx="2139897" cy="2139897"/>
          </a:xfrm>
          <a:prstGeom prst="arc">
            <a:avLst>
              <a:gd name="adj1" fmla="val 11169507"/>
              <a:gd name="adj2" fmla="val 146547"/>
            </a:avLst>
          </a:prstGeom>
          <a:ln w="63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en-GB" sz="1800"/>
          </a:p>
        </p:txBody>
      </p:sp>
      <p:sp>
        <p:nvSpPr>
          <p:cNvPr id="58" name="Arc 57">
            <a:extLst>
              <a:ext uri="{FF2B5EF4-FFF2-40B4-BE49-F238E27FC236}">
                <a16:creationId xmlns:a16="http://schemas.microsoft.com/office/drawing/2014/main" id="{A6455670-9200-4075-8FD1-258D64C3BC53}"/>
              </a:ext>
            </a:extLst>
          </p:cNvPr>
          <p:cNvSpPr/>
          <p:nvPr userDrawn="1"/>
        </p:nvSpPr>
        <p:spPr>
          <a:xfrm>
            <a:off x="9531405" y="1903604"/>
            <a:ext cx="2139897" cy="2139897"/>
          </a:xfrm>
          <a:prstGeom prst="arc">
            <a:avLst>
              <a:gd name="adj1" fmla="val 21586752"/>
              <a:gd name="adj2" fmla="val 10460422"/>
            </a:avLst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en-GB" sz="1800"/>
          </a:p>
        </p:txBody>
      </p:sp>
      <p:sp>
        <p:nvSpPr>
          <p:cNvPr id="59" name="Text Placeholder 20">
            <a:extLst>
              <a:ext uri="{FF2B5EF4-FFF2-40B4-BE49-F238E27FC236}">
                <a16:creationId xmlns:a16="http://schemas.microsoft.com/office/drawing/2014/main" id="{93D125A3-FE88-471A-B8F0-E6658064BC4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11588" y="2316494"/>
            <a:ext cx="1765256" cy="72713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Insert Month Here</a:t>
            </a:r>
            <a:endParaRPr lang="en-GB" dirty="0"/>
          </a:p>
        </p:txBody>
      </p:sp>
      <p:sp>
        <p:nvSpPr>
          <p:cNvPr id="60" name="Text Placeholder 20">
            <a:extLst>
              <a:ext uri="{FF2B5EF4-FFF2-40B4-BE49-F238E27FC236}">
                <a16:creationId xmlns:a16="http://schemas.microsoft.com/office/drawing/2014/main" id="{C549A8A3-BB0C-4101-A046-583DF42604F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715156" y="2316494"/>
            <a:ext cx="1765256" cy="72713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Insert Month Here</a:t>
            </a:r>
            <a:endParaRPr lang="en-GB" dirty="0"/>
          </a:p>
        </p:txBody>
      </p:sp>
      <p:sp>
        <p:nvSpPr>
          <p:cNvPr id="62" name="Text Placeholder 20">
            <a:extLst>
              <a:ext uri="{FF2B5EF4-FFF2-40B4-BE49-F238E27FC236}">
                <a16:creationId xmlns:a16="http://schemas.microsoft.com/office/drawing/2014/main" id="{25CBF8A6-65A4-4273-B853-F7256AC4B41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718723" y="2316494"/>
            <a:ext cx="1765256" cy="72713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Insert Month Here</a:t>
            </a:r>
            <a:endParaRPr lang="en-GB" dirty="0"/>
          </a:p>
        </p:txBody>
      </p:sp>
      <p:sp>
        <p:nvSpPr>
          <p:cNvPr id="63" name="Text Placeholder 20">
            <a:extLst>
              <a:ext uri="{FF2B5EF4-FFF2-40B4-BE49-F238E27FC236}">
                <a16:creationId xmlns:a16="http://schemas.microsoft.com/office/drawing/2014/main" id="{49AB2AAA-8826-4084-A6B6-6474D4FFA66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524269" y="4625327"/>
            <a:ext cx="2139897" cy="1569098"/>
          </a:xfrm>
        </p:spPr>
        <p:txBody>
          <a:bodyPr anchor="t">
            <a:noAutofit/>
          </a:bodyPr>
          <a:lstStyle>
            <a:lvl1pPr marL="0" indent="0" algn="ctr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Insert Text Here</a:t>
            </a:r>
            <a:endParaRPr lang="en-GB" dirty="0"/>
          </a:p>
        </p:txBody>
      </p:sp>
      <p:sp>
        <p:nvSpPr>
          <p:cNvPr id="64" name="Text Placeholder 20">
            <a:extLst>
              <a:ext uri="{FF2B5EF4-FFF2-40B4-BE49-F238E27FC236}">
                <a16:creationId xmlns:a16="http://schemas.microsoft.com/office/drawing/2014/main" id="{F8551EBC-A275-4920-A819-8AFBCDEDC91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527837" y="4625327"/>
            <a:ext cx="2139897" cy="1569098"/>
          </a:xfrm>
        </p:spPr>
        <p:txBody>
          <a:bodyPr anchor="t">
            <a:noAutofit/>
          </a:bodyPr>
          <a:lstStyle>
            <a:lvl1pPr marL="0" indent="0" algn="ctr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Insert Text Here</a:t>
            </a:r>
            <a:endParaRPr lang="en-GB" dirty="0"/>
          </a:p>
        </p:txBody>
      </p:sp>
      <p:sp>
        <p:nvSpPr>
          <p:cNvPr id="66" name="Text Placeholder 20">
            <a:extLst>
              <a:ext uri="{FF2B5EF4-FFF2-40B4-BE49-F238E27FC236}">
                <a16:creationId xmlns:a16="http://schemas.microsoft.com/office/drawing/2014/main" id="{2D2456DD-4B4A-46C1-A8F5-E7995E98609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531405" y="4625327"/>
            <a:ext cx="2139897" cy="1569098"/>
          </a:xfrm>
        </p:spPr>
        <p:txBody>
          <a:bodyPr anchor="t">
            <a:noAutofit/>
          </a:bodyPr>
          <a:lstStyle>
            <a:lvl1pPr marL="0" indent="0" algn="ctr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Insert Text Here</a:t>
            </a: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535CF23-A26D-4C47-AD71-9D9EE3B46B5A}"/>
              </a:ext>
            </a:extLst>
          </p:cNvPr>
          <p:cNvCxnSpPr>
            <a:cxnSpLocks/>
            <a:endCxn id="22" idx="0"/>
          </p:cNvCxnSpPr>
          <p:nvPr userDrawn="1"/>
        </p:nvCxnSpPr>
        <p:spPr>
          <a:xfrm flipH="1">
            <a:off x="1590649" y="4043499"/>
            <a:ext cx="0" cy="58182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B77DF217-1963-4708-B85C-BA7DF0EAB5B2}"/>
              </a:ext>
            </a:extLst>
          </p:cNvPr>
          <p:cNvCxnSpPr>
            <a:cxnSpLocks/>
          </p:cNvCxnSpPr>
          <p:nvPr userDrawn="1"/>
        </p:nvCxnSpPr>
        <p:spPr>
          <a:xfrm flipH="1">
            <a:off x="4594216" y="4043499"/>
            <a:ext cx="0" cy="58182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9D55F1E5-BAEB-4FB2-8348-E3FE03A143B3}"/>
              </a:ext>
            </a:extLst>
          </p:cNvPr>
          <p:cNvCxnSpPr>
            <a:cxnSpLocks/>
          </p:cNvCxnSpPr>
          <p:nvPr userDrawn="1"/>
        </p:nvCxnSpPr>
        <p:spPr>
          <a:xfrm flipH="1">
            <a:off x="7597784" y="4043499"/>
            <a:ext cx="0" cy="58182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D17CC174-37AA-4FA5-B57F-C710AADE5B29}"/>
              </a:ext>
            </a:extLst>
          </p:cNvPr>
          <p:cNvCxnSpPr>
            <a:cxnSpLocks/>
          </p:cNvCxnSpPr>
          <p:nvPr userDrawn="1"/>
        </p:nvCxnSpPr>
        <p:spPr>
          <a:xfrm flipH="1">
            <a:off x="10601351" y="4043499"/>
            <a:ext cx="0" cy="58182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Arrow: Right 8">
            <a:extLst>
              <a:ext uri="{FF2B5EF4-FFF2-40B4-BE49-F238E27FC236}">
                <a16:creationId xmlns:a16="http://schemas.microsoft.com/office/drawing/2014/main" id="{8627C318-38BE-487A-B370-E4A161F0DC19}"/>
              </a:ext>
            </a:extLst>
          </p:cNvPr>
          <p:cNvSpPr/>
          <p:nvPr userDrawn="1"/>
        </p:nvSpPr>
        <p:spPr>
          <a:xfrm>
            <a:off x="1066801" y="2764342"/>
            <a:ext cx="2745315" cy="418421"/>
          </a:xfrm>
          <a:custGeom>
            <a:avLst/>
            <a:gdLst>
              <a:gd name="connsiteX0" fmla="*/ 0 w 2745315"/>
              <a:gd name="connsiteY0" fmla="*/ 104605 h 418421"/>
              <a:gd name="connsiteX1" fmla="*/ 2536105 w 2745315"/>
              <a:gd name="connsiteY1" fmla="*/ 104605 h 418421"/>
              <a:gd name="connsiteX2" fmla="*/ 2536105 w 2745315"/>
              <a:gd name="connsiteY2" fmla="*/ 0 h 418421"/>
              <a:gd name="connsiteX3" fmla="*/ 2745315 w 2745315"/>
              <a:gd name="connsiteY3" fmla="*/ 209211 h 418421"/>
              <a:gd name="connsiteX4" fmla="*/ 2536105 w 2745315"/>
              <a:gd name="connsiteY4" fmla="*/ 418421 h 418421"/>
              <a:gd name="connsiteX5" fmla="*/ 2536105 w 2745315"/>
              <a:gd name="connsiteY5" fmla="*/ 313816 h 418421"/>
              <a:gd name="connsiteX6" fmla="*/ 0 w 2745315"/>
              <a:gd name="connsiteY6" fmla="*/ 313816 h 418421"/>
              <a:gd name="connsiteX7" fmla="*/ 0 w 2745315"/>
              <a:gd name="connsiteY7" fmla="*/ 104605 h 418421"/>
              <a:gd name="connsiteX0" fmla="*/ 0 w 2745315"/>
              <a:gd name="connsiteY0" fmla="*/ 104605 h 418421"/>
              <a:gd name="connsiteX1" fmla="*/ 1581150 w 2745315"/>
              <a:gd name="connsiteY1" fmla="*/ 104590 h 418421"/>
              <a:gd name="connsiteX2" fmla="*/ 2536105 w 2745315"/>
              <a:gd name="connsiteY2" fmla="*/ 104605 h 418421"/>
              <a:gd name="connsiteX3" fmla="*/ 2536105 w 2745315"/>
              <a:gd name="connsiteY3" fmla="*/ 0 h 418421"/>
              <a:gd name="connsiteX4" fmla="*/ 2745315 w 2745315"/>
              <a:gd name="connsiteY4" fmla="*/ 209211 h 418421"/>
              <a:gd name="connsiteX5" fmla="*/ 2536105 w 2745315"/>
              <a:gd name="connsiteY5" fmla="*/ 418421 h 418421"/>
              <a:gd name="connsiteX6" fmla="*/ 2536105 w 2745315"/>
              <a:gd name="connsiteY6" fmla="*/ 313816 h 418421"/>
              <a:gd name="connsiteX7" fmla="*/ 0 w 2745315"/>
              <a:gd name="connsiteY7" fmla="*/ 313816 h 418421"/>
              <a:gd name="connsiteX8" fmla="*/ 0 w 2745315"/>
              <a:gd name="connsiteY8" fmla="*/ 104605 h 418421"/>
              <a:gd name="connsiteX0" fmla="*/ 0 w 2745315"/>
              <a:gd name="connsiteY0" fmla="*/ 104605 h 418421"/>
              <a:gd name="connsiteX1" fmla="*/ 1581150 w 2745315"/>
              <a:gd name="connsiteY1" fmla="*/ 104590 h 418421"/>
              <a:gd name="connsiteX2" fmla="*/ 2536105 w 2745315"/>
              <a:gd name="connsiteY2" fmla="*/ 104605 h 418421"/>
              <a:gd name="connsiteX3" fmla="*/ 2536105 w 2745315"/>
              <a:gd name="connsiteY3" fmla="*/ 0 h 418421"/>
              <a:gd name="connsiteX4" fmla="*/ 2745315 w 2745315"/>
              <a:gd name="connsiteY4" fmla="*/ 209211 h 418421"/>
              <a:gd name="connsiteX5" fmla="*/ 2536105 w 2745315"/>
              <a:gd name="connsiteY5" fmla="*/ 418421 h 418421"/>
              <a:gd name="connsiteX6" fmla="*/ 2536105 w 2745315"/>
              <a:gd name="connsiteY6" fmla="*/ 313816 h 418421"/>
              <a:gd name="connsiteX7" fmla="*/ 0 w 2745315"/>
              <a:gd name="connsiteY7" fmla="*/ 313816 h 418421"/>
              <a:gd name="connsiteX8" fmla="*/ 91440 w 2745315"/>
              <a:gd name="connsiteY8" fmla="*/ 196045 h 418421"/>
              <a:gd name="connsiteX0" fmla="*/ 0 w 2745315"/>
              <a:gd name="connsiteY0" fmla="*/ 104605 h 418421"/>
              <a:gd name="connsiteX1" fmla="*/ 1581150 w 2745315"/>
              <a:gd name="connsiteY1" fmla="*/ 104590 h 418421"/>
              <a:gd name="connsiteX2" fmla="*/ 2536105 w 2745315"/>
              <a:gd name="connsiteY2" fmla="*/ 104605 h 418421"/>
              <a:gd name="connsiteX3" fmla="*/ 2536105 w 2745315"/>
              <a:gd name="connsiteY3" fmla="*/ 0 h 418421"/>
              <a:gd name="connsiteX4" fmla="*/ 2745315 w 2745315"/>
              <a:gd name="connsiteY4" fmla="*/ 209211 h 418421"/>
              <a:gd name="connsiteX5" fmla="*/ 2536105 w 2745315"/>
              <a:gd name="connsiteY5" fmla="*/ 418421 h 418421"/>
              <a:gd name="connsiteX6" fmla="*/ 2536105 w 2745315"/>
              <a:gd name="connsiteY6" fmla="*/ 313816 h 418421"/>
              <a:gd name="connsiteX7" fmla="*/ 0 w 2745315"/>
              <a:gd name="connsiteY7" fmla="*/ 313816 h 418421"/>
              <a:gd name="connsiteX0" fmla="*/ 1581150 w 2745315"/>
              <a:gd name="connsiteY0" fmla="*/ 104590 h 418421"/>
              <a:gd name="connsiteX1" fmla="*/ 2536105 w 2745315"/>
              <a:gd name="connsiteY1" fmla="*/ 104605 h 418421"/>
              <a:gd name="connsiteX2" fmla="*/ 2536105 w 2745315"/>
              <a:gd name="connsiteY2" fmla="*/ 0 h 418421"/>
              <a:gd name="connsiteX3" fmla="*/ 2745315 w 2745315"/>
              <a:gd name="connsiteY3" fmla="*/ 209211 h 418421"/>
              <a:gd name="connsiteX4" fmla="*/ 2536105 w 2745315"/>
              <a:gd name="connsiteY4" fmla="*/ 418421 h 418421"/>
              <a:gd name="connsiteX5" fmla="*/ 2536105 w 2745315"/>
              <a:gd name="connsiteY5" fmla="*/ 313816 h 418421"/>
              <a:gd name="connsiteX6" fmla="*/ 0 w 2745315"/>
              <a:gd name="connsiteY6" fmla="*/ 313816 h 418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45315" h="418421">
                <a:moveTo>
                  <a:pt x="1581150" y="104590"/>
                </a:moveTo>
                <a:lnTo>
                  <a:pt x="2536105" y="104605"/>
                </a:lnTo>
                <a:lnTo>
                  <a:pt x="2536105" y="0"/>
                </a:lnTo>
                <a:lnTo>
                  <a:pt x="2745315" y="209211"/>
                </a:lnTo>
                <a:lnTo>
                  <a:pt x="2536105" y="418421"/>
                </a:lnTo>
                <a:lnTo>
                  <a:pt x="2536105" y="313816"/>
                </a:lnTo>
                <a:lnTo>
                  <a:pt x="0" y="313816"/>
                </a:lnTo>
              </a:path>
            </a:pathLst>
          </a:cu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40" name="Arrow: Right 8">
            <a:extLst>
              <a:ext uri="{FF2B5EF4-FFF2-40B4-BE49-F238E27FC236}">
                <a16:creationId xmlns:a16="http://schemas.microsoft.com/office/drawing/2014/main" id="{621F2E5B-F1E7-465D-9DB0-B237ADED9E13}"/>
              </a:ext>
            </a:extLst>
          </p:cNvPr>
          <p:cNvSpPr/>
          <p:nvPr userDrawn="1"/>
        </p:nvSpPr>
        <p:spPr>
          <a:xfrm>
            <a:off x="4069081" y="2764342"/>
            <a:ext cx="2745315" cy="418421"/>
          </a:xfrm>
          <a:custGeom>
            <a:avLst/>
            <a:gdLst>
              <a:gd name="connsiteX0" fmla="*/ 0 w 2745315"/>
              <a:gd name="connsiteY0" fmla="*/ 104605 h 418421"/>
              <a:gd name="connsiteX1" fmla="*/ 2536105 w 2745315"/>
              <a:gd name="connsiteY1" fmla="*/ 104605 h 418421"/>
              <a:gd name="connsiteX2" fmla="*/ 2536105 w 2745315"/>
              <a:gd name="connsiteY2" fmla="*/ 0 h 418421"/>
              <a:gd name="connsiteX3" fmla="*/ 2745315 w 2745315"/>
              <a:gd name="connsiteY3" fmla="*/ 209211 h 418421"/>
              <a:gd name="connsiteX4" fmla="*/ 2536105 w 2745315"/>
              <a:gd name="connsiteY4" fmla="*/ 418421 h 418421"/>
              <a:gd name="connsiteX5" fmla="*/ 2536105 w 2745315"/>
              <a:gd name="connsiteY5" fmla="*/ 313816 h 418421"/>
              <a:gd name="connsiteX6" fmla="*/ 0 w 2745315"/>
              <a:gd name="connsiteY6" fmla="*/ 313816 h 418421"/>
              <a:gd name="connsiteX7" fmla="*/ 0 w 2745315"/>
              <a:gd name="connsiteY7" fmla="*/ 104605 h 418421"/>
              <a:gd name="connsiteX0" fmla="*/ 0 w 2745315"/>
              <a:gd name="connsiteY0" fmla="*/ 104605 h 418421"/>
              <a:gd name="connsiteX1" fmla="*/ 1581150 w 2745315"/>
              <a:gd name="connsiteY1" fmla="*/ 104590 h 418421"/>
              <a:gd name="connsiteX2" fmla="*/ 2536105 w 2745315"/>
              <a:gd name="connsiteY2" fmla="*/ 104605 h 418421"/>
              <a:gd name="connsiteX3" fmla="*/ 2536105 w 2745315"/>
              <a:gd name="connsiteY3" fmla="*/ 0 h 418421"/>
              <a:gd name="connsiteX4" fmla="*/ 2745315 w 2745315"/>
              <a:gd name="connsiteY4" fmla="*/ 209211 h 418421"/>
              <a:gd name="connsiteX5" fmla="*/ 2536105 w 2745315"/>
              <a:gd name="connsiteY5" fmla="*/ 418421 h 418421"/>
              <a:gd name="connsiteX6" fmla="*/ 2536105 w 2745315"/>
              <a:gd name="connsiteY6" fmla="*/ 313816 h 418421"/>
              <a:gd name="connsiteX7" fmla="*/ 0 w 2745315"/>
              <a:gd name="connsiteY7" fmla="*/ 313816 h 418421"/>
              <a:gd name="connsiteX8" fmla="*/ 0 w 2745315"/>
              <a:gd name="connsiteY8" fmla="*/ 104605 h 418421"/>
              <a:gd name="connsiteX0" fmla="*/ 0 w 2745315"/>
              <a:gd name="connsiteY0" fmla="*/ 104605 h 418421"/>
              <a:gd name="connsiteX1" fmla="*/ 1581150 w 2745315"/>
              <a:gd name="connsiteY1" fmla="*/ 104590 h 418421"/>
              <a:gd name="connsiteX2" fmla="*/ 2536105 w 2745315"/>
              <a:gd name="connsiteY2" fmla="*/ 104605 h 418421"/>
              <a:gd name="connsiteX3" fmla="*/ 2536105 w 2745315"/>
              <a:gd name="connsiteY3" fmla="*/ 0 h 418421"/>
              <a:gd name="connsiteX4" fmla="*/ 2745315 w 2745315"/>
              <a:gd name="connsiteY4" fmla="*/ 209211 h 418421"/>
              <a:gd name="connsiteX5" fmla="*/ 2536105 w 2745315"/>
              <a:gd name="connsiteY5" fmla="*/ 418421 h 418421"/>
              <a:gd name="connsiteX6" fmla="*/ 2536105 w 2745315"/>
              <a:gd name="connsiteY6" fmla="*/ 313816 h 418421"/>
              <a:gd name="connsiteX7" fmla="*/ 0 w 2745315"/>
              <a:gd name="connsiteY7" fmla="*/ 313816 h 418421"/>
              <a:gd name="connsiteX8" fmla="*/ 91440 w 2745315"/>
              <a:gd name="connsiteY8" fmla="*/ 196045 h 418421"/>
              <a:gd name="connsiteX0" fmla="*/ 0 w 2745315"/>
              <a:gd name="connsiteY0" fmla="*/ 104605 h 418421"/>
              <a:gd name="connsiteX1" fmla="*/ 1581150 w 2745315"/>
              <a:gd name="connsiteY1" fmla="*/ 104590 h 418421"/>
              <a:gd name="connsiteX2" fmla="*/ 2536105 w 2745315"/>
              <a:gd name="connsiteY2" fmla="*/ 104605 h 418421"/>
              <a:gd name="connsiteX3" fmla="*/ 2536105 w 2745315"/>
              <a:gd name="connsiteY3" fmla="*/ 0 h 418421"/>
              <a:gd name="connsiteX4" fmla="*/ 2745315 w 2745315"/>
              <a:gd name="connsiteY4" fmla="*/ 209211 h 418421"/>
              <a:gd name="connsiteX5" fmla="*/ 2536105 w 2745315"/>
              <a:gd name="connsiteY5" fmla="*/ 418421 h 418421"/>
              <a:gd name="connsiteX6" fmla="*/ 2536105 w 2745315"/>
              <a:gd name="connsiteY6" fmla="*/ 313816 h 418421"/>
              <a:gd name="connsiteX7" fmla="*/ 0 w 2745315"/>
              <a:gd name="connsiteY7" fmla="*/ 313816 h 418421"/>
              <a:gd name="connsiteX0" fmla="*/ 1581150 w 2745315"/>
              <a:gd name="connsiteY0" fmla="*/ 104590 h 418421"/>
              <a:gd name="connsiteX1" fmla="*/ 2536105 w 2745315"/>
              <a:gd name="connsiteY1" fmla="*/ 104605 h 418421"/>
              <a:gd name="connsiteX2" fmla="*/ 2536105 w 2745315"/>
              <a:gd name="connsiteY2" fmla="*/ 0 h 418421"/>
              <a:gd name="connsiteX3" fmla="*/ 2745315 w 2745315"/>
              <a:gd name="connsiteY3" fmla="*/ 209211 h 418421"/>
              <a:gd name="connsiteX4" fmla="*/ 2536105 w 2745315"/>
              <a:gd name="connsiteY4" fmla="*/ 418421 h 418421"/>
              <a:gd name="connsiteX5" fmla="*/ 2536105 w 2745315"/>
              <a:gd name="connsiteY5" fmla="*/ 313816 h 418421"/>
              <a:gd name="connsiteX6" fmla="*/ 0 w 2745315"/>
              <a:gd name="connsiteY6" fmla="*/ 313816 h 418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45315" h="418421">
                <a:moveTo>
                  <a:pt x="1581150" y="104590"/>
                </a:moveTo>
                <a:lnTo>
                  <a:pt x="2536105" y="104605"/>
                </a:lnTo>
                <a:lnTo>
                  <a:pt x="2536105" y="0"/>
                </a:lnTo>
                <a:lnTo>
                  <a:pt x="2745315" y="209211"/>
                </a:lnTo>
                <a:lnTo>
                  <a:pt x="2536105" y="418421"/>
                </a:lnTo>
                <a:lnTo>
                  <a:pt x="2536105" y="313816"/>
                </a:lnTo>
                <a:lnTo>
                  <a:pt x="0" y="313816"/>
                </a:lnTo>
              </a:path>
            </a:pathLst>
          </a:cu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42" name="Arrow: Right 8">
            <a:extLst>
              <a:ext uri="{FF2B5EF4-FFF2-40B4-BE49-F238E27FC236}">
                <a16:creationId xmlns:a16="http://schemas.microsoft.com/office/drawing/2014/main" id="{50D401B0-9438-4DA9-9487-79C8089E19A9}"/>
              </a:ext>
            </a:extLst>
          </p:cNvPr>
          <p:cNvSpPr/>
          <p:nvPr userDrawn="1"/>
        </p:nvSpPr>
        <p:spPr>
          <a:xfrm>
            <a:off x="7071361" y="2764342"/>
            <a:ext cx="2745315" cy="418421"/>
          </a:xfrm>
          <a:custGeom>
            <a:avLst/>
            <a:gdLst>
              <a:gd name="connsiteX0" fmla="*/ 0 w 2745315"/>
              <a:gd name="connsiteY0" fmla="*/ 104605 h 418421"/>
              <a:gd name="connsiteX1" fmla="*/ 2536105 w 2745315"/>
              <a:gd name="connsiteY1" fmla="*/ 104605 h 418421"/>
              <a:gd name="connsiteX2" fmla="*/ 2536105 w 2745315"/>
              <a:gd name="connsiteY2" fmla="*/ 0 h 418421"/>
              <a:gd name="connsiteX3" fmla="*/ 2745315 w 2745315"/>
              <a:gd name="connsiteY3" fmla="*/ 209211 h 418421"/>
              <a:gd name="connsiteX4" fmla="*/ 2536105 w 2745315"/>
              <a:gd name="connsiteY4" fmla="*/ 418421 h 418421"/>
              <a:gd name="connsiteX5" fmla="*/ 2536105 w 2745315"/>
              <a:gd name="connsiteY5" fmla="*/ 313816 h 418421"/>
              <a:gd name="connsiteX6" fmla="*/ 0 w 2745315"/>
              <a:gd name="connsiteY6" fmla="*/ 313816 h 418421"/>
              <a:gd name="connsiteX7" fmla="*/ 0 w 2745315"/>
              <a:gd name="connsiteY7" fmla="*/ 104605 h 418421"/>
              <a:gd name="connsiteX0" fmla="*/ 0 w 2745315"/>
              <a:gd name="connsiteY0" fmla="*/ 104605 h 418421"/>
              <a:gd name="connsiteX1" fmla="*/ 1581150 w 2745315"/>
              <a:gd name="connsiteY1" fmla="*/ 104590 h 418421"/>
              <a:gd name="connsiteX2" fmla="*/ 2536105 w 2745315"/>
              <a:gd name="connsiteY2" fmla="*/ 104605 h 418421"/>
              <a:gd name="connsiteX3" fmla="*/ 2536105 w 2745315"/>
              <a:gd name="connsiteY3" fmla="*/ 0 h 418421"/>
              <a:gd name="connsiteX4" fmla="*/ 2745315 w 2745315"/>
              <a:gd name="connsiteY4" fmla="*/ 209211 h 418421"/>
              <a:gd name="connsiteX5" fmla="*/ 2536105 w 2745315"/>
              <a:gd name="connsiteY5" fmla="*/ 418421 h 418421"/>
              <a:gd name="connsiteX6" fmla="*/ 2536105 w 2745315"/>
              <a:gd name="connsiteY6" fmla="*/ 313816 h 418421"/>
              <a:gd name="connsiteX7" fmla="*/ 0 w 2745315"/>
              <a:gd name="connsiteY7" fmla="*/ 313816 h 418421"/>
              <a:gd name="connsiteX8" fmla="*/ 0 w 2745315"/>
              <a:gd name="connsiteY8" fmla="*/ 104605 h 418421"/>
              <a:gd name="connsiteX0" fmla="*/ 0 w 2745315"/>
              <a:gd name="connsiteY0" fmla="*/ 104605 h 418421"/>
              <a:gd name="connsiteX1" fmla="*/ 1581150 w 2745315"/>
              <a:gd name="connsiteY1" fmla="*/ 104590 h 418421"/>
              <a:gd name="connsiteX2" fmla="*/ 2536105 w 2745315"/>
              <a:gd name="connsiteY2" fmla="*/ 104605 h 418421"/>
              <a:gd name="connsiteX3" fmla="*/ 2536105 w 2745315"/>
              <a:gd name="connsiteY3" fmla="*/ 0 h 418421"/>
              <a:gd name="connsiteX4" fmla="*/ 2745315 w 2745315"/>
              <a:gd name="connsiteY4" fmla="*/ 209211 h 418421"/>
              <a:gd name="connsiteX5" fmla="*/ 2536105 w 2745315"/>
              <a:gd name="connsiteY5" fmla="*/ 418421 h 418421"/>
              <a:gd name="connsiteX6" fmla="*/ 2536105 w 2745315"/>
              <a:gd name="connsiteY6" fmla="*/ 313816 h 418421"/>
              <a:gd name="connsiteX7" fmla="*/ 0 w 2745315"/>
              <a:gd name="connsiteY7" fmla="*/ 313816 h 418421"/>
              <a:gd name="connsiteX8" fmla="*/ 91440 w 2745315"/>
              <a:gd name="connsiteY8" fmla="*/ 196045 h 418421"/>
              <a:gd name="connsiteX0" fmla="*/ 0 w 2745315"/>
              <a:gd name="connsiteY0" fmla="*/ 104605 h 418421"/>
              <a:gd name="connsiteX1" fmla="*/ 1581150 w 2745315"/>
              <a:gd name="connsiteY1" fmla="*/ 104590 h 418421"/>
              <a:gd name="connsiteX2" fmla="*/ 2536105 w 2745315"/>
              <a:gd name="connsiteY2" fmla="*/ 104605 h 418421"/>
              <a:gd name="connsiteX3" fmla="*/ 2536105 w 2745315"/>
              <a:gd name="connsiteY3" fmla="*/ 0 h 418421"/>
              <a:gd name="connsiteX4" fmla="*/ 2745315 w 2745315"/>
              <a:gd name="connsiteY4" fmla="*/ 209211 h 418421"/>
              <a:gd name="connsiteX5" fmla="*/ 2536105 w 2745315"/>
              <a:gd name="connsiteY5" fmla="*/ 418421 h 418421"/>
              <a:gd name="connsiteX6" fmla="*/ 2536105 w 2745315"/>
              <a:gd name="connsiteY6" fmla="*/ 313816 h 418421"/>
              <a:gd name="connsiteX7" fmla="*/ 0 w 2745315"/>
              <a:gd name="connsiteY7" fmla="*/ 313816 h 418421"/>
              <a:gd name="connsiteX0" fmla="*/ 1581150 w 2745315"/>
              <a:gd name="connsiteY0" fmla="*/ 104590 h 418421"/>
              <a:gd name="connsiteX1" fmla="*/ 2536105 w 2745315"/>
              <a:gd name="connsiteY1" fmla="*/ 104605 h 418421"/>
              <a:gd name="connsiteX2" fmla="*/ 2536105 w 2745315"/>
              <a:gd name="connsiteY2" fmla="*/ 0 h 418421"/>
              <a:gd name="connsiteX3" fmla="*/ 2745315 w 2745315"/>
              <a:gd name="connsiteY3" fmla="*/ 209211 h 418421"/>
              <a:gd name="connsiteX4" fmla="*/ 2536105 w 2745315"/>
              <a:gd name="connsiteY4" fmla="*/ 418421 h 418421"/>
              <a:gd name="connsiteX5" fmla="*/ 2536105 w 2745315"/>
              <a:gd name="connsiteY5" fmla="*/ 313816 h 418421"/>
              <a:gd name="connsiteX6" fmla="*/ 0 w 2745315"/>
              <a:gd name="connsiteY6" fmla="*/ 313816 h 418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45315" h="418421">
                <a:moveTo>
                  <a:pt x="1581150" y="104590"/>
                </a:moveTo>
                <a:lnTo>
                  <a:pt x="2536105" y="104605"/>
                </a:lnTo>
                <a:lnTo>
                  <a:pt x="2536105" y="0"/>
                </a:lnTo>
                <a:lnTo>
                  <a:pt x="2745315" y="209211"/>
                </a:lnTo>
                <a:lnTo>
                  <a:pt x="2536105" y="418421"/>
                </a:lnTo>
                <a:lnTo>
                  <a:pt x="2536105" y="313816"/>
                </a:lnTo>
                <a:lnTo>
                  <a:pt x="0" y="313816"/>
                </a:lnTo>
              </a:path>
            </a:pathLst>
          </a:cu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329817379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92198-5E08-49A5-999A-3A441B9AC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en-US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FF53719-C8BB-4A8C-A2A8-5A55448EC0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8020" y="2316494"/>
            <a:ext cx="1765256" cy="72713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Insert Month Here</a:t>
            </a:r>
            <a:endParaRPr lang="en-GB" dirty="0"/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B58FC142-C162-476F-96BB-BFC5E1F2803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0701" y="4625327"/>
            <a:ext cx="2139897" cy="1569098"/>
          </a:xfrm>
        </p:spPr>
        <p:txBody>
          <a:bodyPr anchor="t">
            <a:noAutofit/>
          </a:bodyPr>
          <a:lstStyle>
            <a:lvl1pPr marL="0" indent="0" algn="ctr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Insert Text Here</a:t>
            </a:r>
            <a:endParaRPr lang="en-GB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A00F4FD-709E-451C-ADB6-04EFB379E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700" y="365127"/>
            <a:ext cx="11150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Arc 6">
            <a:extLst>
              <a:ext uri="{FF2B5EF4-FFF2-40B4-BE49-F238E27FC236}">
                <a16:creationId xmlns:a16="http://schemas.microsoft.com/office/drawing/2014/main" id="{493DC188-5367-4EDC-9171-C6332D7031C4}"/>
              </a:ext>
            </a:extLst>
          </p:cNvPr>
          <p:cNvSpPr/>
          <p:nvPr userDrawn="1"/>
        </p:nvSpPr>
        <p:spPr>
          <a:xfrm>
            <a:off x="520701" y="1903604"/>
            <a:ext cx="2139897" cy="2139897"/>
          </a:xfrm>
          <a:prstGeom prst="arc">
            <a:avLst>
              <a:gd name="adj1" fmla="val 10080820"/>
              <a:gd name="adj2" fmla="val 21286878"/>
            </a:avLst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2" name="Arc 31">
            <a:extLst>
              <a:ext uri="{FF2B5EF4-FFF2-40B4-BE49-F238E27FC236}">
                <a16:creationId xmlns:a16="http://schemas.microsoft.com/office/drawing/2014/main" id="{42EFB4E2-E6DC-481F-9CD7-B41C1C8C7626}"/>
              </a:ext>
            </a:extLst>
          </p:cNvPr>
          <p:cNvSpPr/>
          <p:nvPr userDrawn="1"/>
        </p:nvSpPr>
        <p:spPr>
          <a:xfrm>
            <a:off x="520701" y="1903604"/>
            <a:ext cx="2139897" cy="2139897"/>
          </a:xfrm>
          <a:prstGeom prst="arc">
            <a:avLst>
              <a:gd name="adj1" fmla="val 373939"/>
              <a:gd name="adj2" fmla="val 9969063"/>
            </a:avLst>
          </a:prstGeom>
          <a:ln w="63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8627C318-38BE-487A-B370-E4A161F0DC19}"/>
              </a:ext>
            </a:extLst>
          </p:cNvPr>
          <p:cNvSpPr/>
          <p:nvPr userDrawn="1"/>
        </p:nvSpPr>
        <p:spPr>
          <a:xfrm>
            <a:off x="1350587" y="2764342"/>
            <a:ext cx="1769408" cy="418421"/>
          </a:xfrm>
          <a:custGeom>
            <a:avLst/>
            <a:gdLst>
              <a:gd name="connsiteX0" fmla="*/ 0 w 980440"/>
              <a:gd name="connsiteY0" fmla="*/ 186693 h 746771"/>
              <a:gd name="connsiteX1" fmla="*/ 607055 w 980440"/>
              <a:gd name="connsiteY1" fmla="*/ 186693 h 746771"/>
              <a:gd name="connsiteX2" fmla="*/ 607055 w 980440"/>
              <a:gd name="connsiteY2" fmla="*/ 0 h 746771"/>
              <a:gd name="connsiteX3" fmla="*/ 980440 w 980440"/>
              <a:gd name="connsiteY3" fmla="*/ 373386 h 746771"/>
              <a:gd name="connsiteX4" fmla="*/ 607055 w 980440"/>
              <a:gd name="connsiteY4" fmla="*/ 746771 h 746771"/>
              <a:gd name="connsiteX5" fmla="*/ 607055 w 980440"/>
              <a:gd name="connsiteY5" fmla="*/ 560078 h 746771"/>
              <a:gd name="connsiteX6" fmla="*/ 0 w 980440"/>
              <a:gd name="connsiteY6" fmla="*/ 560078 h 746771"/>
              <a:gd name="connsiteX7" fmla="*/ 0 w 980440"/>
              <a:gd name="connsiteY7" fmla="*/ 186693 h 746771"/>
              <a:gd name="connsiteX0" fmla="*/ 0 w 980440"/>
              <a:gd name="connsiteY0" fmla="*/ 186693 h 746771"/>
              <a:gd name="connsiteX1" fmla="*/ 607055 w 980440"/>
              <a:gd name="connsiteY1" fmla="*/ 186693 h 746771"/>
              <a:gd name="connsiteX2" fmla="*/ 607055 w 980440"/>
              <a:gd name="connsiteY2" fmla="*/ 0 h 746771"/>
              <a:gd name="connsiteX3" fmla="*/ 980440 w 980440"/>
              <a:gd name="connsiteY3" fmla="*/ 373386 h 746771"/>
              <a:gd name="connsiteX4" fmla="*/ 607055 w 980440"/>
              <a:gd name="connsiteY4" fmla="*/ 746771 h 746771"/>
              <a:gd name="connsiteX5" fmla="*/ 607055 w 980440"/>
              <a:gd name="connsiteY5" fmla="*/ 560078 h 746771"/>
              <a:gd name="connsiteX6" fmla="*/ 0 w 980440"/>
              <a:gd name="connsiteY6" fmla="*/ 560078 h 746771"/>
              <a:gd name="connsiteX7" fmla="*/ 91440 w 980440"/>
              <a:gd name="connsiteY7" fmla="*/ 278133 h 746771"/>
              <a:gd name="connsiteX0" fmla="*/ 0 w 980440"/>
              <a:gd name="connsiteY0" fmla="*/ 186693 h 746771"/>
              <a:gd name="connsiteX1" fmla="*/ 607055 w 980440"/>
              <a:gd name="connsiteY1" fmla="*/ 186693 h 746771"/>
              <a:gd name="connsiteX2" fmla="*/ 607055 w 980440"/>
              <a:gd name="connsiteY2" fmla="*/ 0 h 746771"/>
              <a:gd name="connsiteX3" fmla="*/ 980440 w 980440"/>
              <a:gd name="connsiteY3" fmla="*/ 373386 h 746771"/>
              <a:gd name="connsiteX4" fmla="*/ 607055 w 980440"/>
              <a:gd name="connsiteY4" fmla="*/ 746771 h 746771"/>
              <a:gd name="connsiteX5" fmla="*/ 607055 w 980440"/>
              <a:gd name="connsiteY5" fmla="*/ 560078 h 746771"/>
              <a:gd name="connsiteX6" fmla="*/ 0 w 980440"/>
              <a:gd name="connsiteY6" fmla="*/ 560078 h 746771"/>
              <a:gd name="connsiteX0" fmla="*/ 1615440 w 2595880"/>
              <a:gd name="connsiteY0" fmla="*/ 186693 h 746771"/>
              <a:gd name="connsiteX1" fmla="*/ 2222495 w 2595880"/>
              <a:gd name="connsiteY1" fmla="*/ 186693 h 746771"/>
              <a:gd name="connsiteX2" fmla="*/ 2222495 w 2595880"/>
              <a:gd name="connsiteY2" fmla="*/ 0 h 746771"/>
              <a:gd name="connsiteX3" fmla="*/ 2595880 w 2595880"/>
              <a:gd name="connsiteY3" fmla="*/ 373386 h 746771"/>
              <a:gd name="connsiteX4" fmla="*/ 2222495 w 2595880"/>
              <a:gd name="connsiteY4" fmla="*/ 746771 h 746771"/>
              <a:gd name="connsiteX5" fmla="*/ 2222495 w 2595880"/>
              <a:gd name="connsiteY5" fmla="*/ 560078 h 746771"/>
              <a:gd name="connsiteX6" fmla="*/ 0 w 2595880"/>
              <a:gd name="connsiteY6" fmla="*/ 575318 h 746771"/>
              <a:gd name="connsiteX0" fmla="*/ 1615440 w 2595880"/>
              <a:gd name="connsiteY0" fmla="*/ 186693 h 746771"/>
              <a:gd name="connsiteX1" fmla="*/ 2222495 w 2595880"/>
              <a:gd name="connsiteY1" fmla="*/ 186693 h 746771"/>
              <a:gd name="connsiteX2" fmla="*/ 2222495 w 2595880"/>
              <a:gd name="connsiteY2" fmla="*/ 0 h 746771"/>
              <a:gd name="connsiteX3" fmla="*/ 2595880 w 2595880"/>
              <a:gd name="connsiteY3" fmla="*/ 373386 h 746771"/>
              <a:gd name="connsiteX4" fmla="*/ 2222495 w 2595880"/>
              <a:gd name="connsiteY4" fmla="*/ 746771 h 746771"/>
              <a:gd name="connsiteX5" fmla="*/ 2222495 w 2595880"/>
              <a:gd name="connsiteY5" fmla="*/ 560078 h 746771"/>
              <a:gd name="connsiteX6" fmla="*/ 0 w 2595880"/>
              <a:gd name="connsiteY6" fmla="*/ 565158 h 746771"/>
              <a:gd name="connsiteX0" fmla="*/ 1610360 w 2590800"/>
              <a:gd name="connsiteY0" fmla="*/ 186693 h 746771"/>
              <a:gd name="connsiteX1" fmla="*/ 2217415 w 2590800"/>
              <a:gd name="connsiteY1" fmla="*/ 186693 h 746771"/>
              <a:gd name="connsiteX2" fmla="*/ 2217415 w 2590800"/>
              <a:gd name="connsiteY2" fmla="*/ 0 h 746771"/>
              <a:gd name="connsiteX3" fmla="*/ 2590800 w 2590800"/>
              <a:gd name="connsiteY3" fmla="*/ 373386 h 746771"/>
              <a:gd name="connsiteX4" fmla="*/ 2217415 w 2590800"/>
              <a:gd name="connsiteY4" fmla="*/ 746771 h 746771"/>
              <a:gd name="connsiteX5" fmla="*/ 2217415 w 2590800"/>
              <a:gd name="connsiteY5" fmla="*/ 560078 h 746771"/>
              <a:gd name="connsiteX6" fmla="*/ 0 w 2590800"/>
              <a:gd name="connsiteY6" fmla="*/ 494038 h 746771"/>
              <a:gd name="connsiteX0" fmla="*/ 1610360 w 2590800"/>
              <a:gd name="connsiteY0" fmla="*/ 186693 h 746771"/>
              <a:gd name="connsiteX1" fmla="*/ 2217415 w 2590800"/>
              <a:gd name="connsiteY1" fmla="*/ 186693 h 746771"/>
              <a:gd name="connsiteX2" fmla="*/ 2217415 w 2590800"/>
              <a:gd name="connsiteY2" fmla="*/ 0 h 746771"/>
              <a:gd name="connsiteX3" fmla="*/ 2590800 w 2590800"/>
              <a:gd name="connsiteY3" fmla="*/ 373386 h 746771"/>
              <a:gd name="connsiteX4" fmla="*/ 2217415 w 2590800"/>
              <a:gd name="connsiteY4" fmla="*/ 746771 h 746771"/>
              <a:gd name="connsiteX5" fmla="*/ 2217415 w 2590800"/>
              <a:gd name="connsiteY5" fmla="*/ 560078 h 746771"/>
              <a:gd name="connsiteX6" fmla="*/ 0 w 2590800"/>
              <a:gd name="connsiteY6" fmla="*/ 570238 h 746771"/>
              <a:gd name="connsiteX0" fmla="*/ 2177496 w 3157936"/>
              <a:gd name="connsiteY0" fmla="*/ 186693 h 746771"/>
              <a:gd name="connsiteX1" fmla="*/ 2784551 w 3157936"/>
              <a:gd name="connsiteY1" fmla="*/ 186693 h 746771"/>
              <a:gd name="connsiteX2" fmla="*/ 2784551 w 3157936"/>
              <a:gd name="connsiteY2" fmla="*/ 0 h 746771"/>
              <a:gd name="connsiteX3" fmla="*/ 3157936 w 3157936"/>
              <a:gd name="connsiteY3" fmla="*/ 373386 h 746771"/>
              <a:gd name="connsiteX4" fmla="*/ 2784551 w 3157936"/>
              <a:gd name="connsiteY4" fmla="*/ 746771 h 746771"/>
              <a:gd name="connsiteX5" fmla="*/ 2784551 w 3157936"/>
              <a:gd name="connsiteY5" fmla="*/ 560078 h 746771"/>
              <a:gd name="connsiteX6" fmla="*/ 0 w 3157936"/>
              <a:gd name="connsiteY6" fmla="*/ 570238 h 746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57936" h="746771">
                <a:moveTo>
                  <a:pt x="2177496" y="186693"/>
                </a:moveTo>
                <a:lnTo>
                  <a:pt x="2784551" y="186693"/>
                </a:lnTo>
                <a:lnTo>
                  <a:pt x="2784551" y="0"/>
                </a:lnTo>
                <a:lnTo>
                  <a:pt x="3157936" y="373386"/>
                </a:lnTo>
                <a:lnTo>
                  <a:pt x="2784551" y="746771"/>
                </a:lnTo>
                <a:lnTo>
                  <a:pt x="2784551" y="560078"/>
                </a:lnTo>
                <a:lnTo>
                  <a:pt x="0" y="570238"/>
                </a:lnTo>
              </a:path>
            </a:pathLst>
          </a:cu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36" name="Arc 35">
            <a:extLst>
              <a:ext uri="{FF2B5EF4-FFF2-40B4-BE49-F238E27FC236}">
                <a16:creationId xmlns:a16="http://schemas.microsoft.com/office/drawing/2014/main" id="{95B21021-F56D-4DE0-9556-7A88E088DE82}"/>
              </a:ext>
            </a:extLst>
          </p:cNvPr>
          <p:cNvSpPr/>
          <p:nvPr userDrawn="1"/>
        </p:nvSpPr>
        <p:spPr>
          <a:xfrm>
            <a:off x="2762226" y="1903604"/>
            <a:ext cx="2139897" cy="2139897"/>
          </a:xfrm>
          <a:prstGeom prst="arc">
            <a:avLst>
              <a:gd name="adj1" fmla="val 11152410"/>
              <a:gd name="adj2" fmla="val 21262236"/>
            </a:avLst>
          </a:prstGeom>
          <a:ln w="63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800"/>
          </a:p>
        </p:txBody>
      </p:sp>
      <p:sp>
        <p:nvSpPr>
          <p:cNvPr id="37" name="Arc 36">
            <a:extLst>
              <a:ext uri="{FF2B5EF4-FFF2-40B4-BE49-F238E27FC236}">
                <a16:creationId xmlns:a16="http://schemas.microsoft.com/office/drawing/2014/main" id="{FF2A0780-162E-4178-8D44-C087E927A225}"/>
              </a:ext>
            </a:extLst>
          </p:cNvPr>
          <p:cNvSpPr/>
          <p:nvPr userDrawn="1"/>
        </p:nvSpPr>
        <p:spPr>
          <a:xfrm>
            <a:off x="2762226" y="1903604"/>
            <a:ext cx="2139897" cy="2139897"/>
          </a:xfrm>
          <a:prstGeom prst="arc">
            <a:avLst>
              <a:gd name="adj1" fmla="val 350464"/>
              <a:gd name="adj2" fmla="val 10463156"/>
            </a:avLst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800"/>
          </a:p>
        </p:txBody>
      </p:sp>
      <p:sp>
        <p:nvSpPr>
          <p:cNvPr id="41" name="Arrow: Right 8">
            <a:extLst>
              <a:ext uri="{FF2B5EF4-FFF2-40B4-BE49-F238E27FC236}">
                <a16:creationId xmlns:a16="http://schemas.microsoft.com/office/drawing/2014/main" id="{773A68BC-F081-4B3D-B7C7-F037E3A67F28}"/>
              </a:ext>
            </a:extLst>
          </p:cNvPr>
          <p:cNvSpPr/>
          <p:nvPr userDrawn="1"/>
        </p:nvSpPr>
        <p:spPr>
          <a:xfrm>
            <a:off x="3653037" y="2764342"/>
            <a:ext cx="1769408" cy="418421"/>
          </a:xfrm>
          <a:custGeom>
            <a:avLst/>
            <a:gdLst>
              <a:gd name="connsiteX0" fmla="*/ 0 w 980440"/>
              <a:gd name="connsiteY0" fmla="*/ 186693 h 746771"/>
              <a:gd name="connsiteX1" fmla="*/ 607055 w 980440"/>
              <a:gd name="connsiteY1" fmla="*/ 186693 h 746771"/>
              <a:gd name="connsiteX2" fmla="*/ 607055 w 980440"/>
              <a:gd name="connsiteY2" fmla="*/ 0 h 746771"/>
              <a:gd name="connsiteX3" fmla="*/ 980440 w 980440"/>
              <a:gd name="connsiteY3" fmla="*/ 373386 h 746771"/>
              <a:gd name="connsiteX4" fmla="*/ 607055 w 980440"/>
              <a:gd name="connsiteY4" fmla="*/ 746771 h 746771"/>
              <a:gd name="connsiteX5" fmla="*/ 607055 w 980440"/>
              <a:gd name="connsiteY5" fmla="*/ 560078 h 746771"/>
              <a:gd name="connsiteX6" fmla="*/ 0 w 980440"/>
              <a:gd name="connsiteY6" fmla="*/ 560078 h 746771"/>
              <a:gd name="connsiteX7" fmla="*/ 0 w 980440"/>
              <a:gd name="connsiteY7" fmla="*/ 186693 h 746771"/>
              <a:gd name="connsiteX0" fmla="*/ 0 w 980440"/>
              <a:gd name="connsiteY0" fmla="*/ 186693 h 746771"/>
              <a:gd name="connsiteX1" fmla="*/ 607055 w 980440"/>
              <a:gd name="connsiteY1" fmla="*/ 186693 h 746771"/>
              <a:gd name="connsiteX2" fmla="*/ 607055 w 980440"/>
              <a:gd name="connsiteY2" fmla="*/ 0 h 746771"/>
              <a:gd name="connsiteX3" fmla="*/ 980440 w 980440"/>
              <a:gd name="connsiteY3" fmla="*/ 373386 h 746771"/>
              <a:gd name="connsiteX4" fmla="*/ 607055 w 980440"/>
              <a:gd name="connsiteY4" fmla="*/ 746771 h 746771"/>
              <a:gd name="connsiteX5" fmla="*/ 607055 w 980440"/>
              <a:gd name="connsiteY5" fmla="*/ 560078 h 746771"/>
              <a:gd name="connsiteX6" fmla="*/ 0 w 980440"/>
              <a:gd name="connsiteY6" fmla="*/ 560078 h 746771"/>
              <a:gd name="connsiteX7" fmla="*/ 91440 w 980440"/>
              <a:gd name="connsiteY7" fmla="*/ 278133 h 746771"/>
              <a:gd name="connsiteX0" fmla="*/ 0 w 980440"/>
              <a:gd name="connsiteY0" fmla="*/ 186693 h 746771"/>
              <a:gd name="connsiteX1" fmla="*/ 607055 w 980440"/>
              <a:gd name="connsiteY1" fmla="*/ 186693 h 746771"/>
              <a:gd name="connsiteX2" fmla="*/ 607055 w 980440"/>
              <a:gd name="connsiteY2" fmla="*/ 0 h 746771"/>
              <a:gd name="connsiteX3" fmla="*/ 980440 w 980440"/>
              <a:gd name="connsiteY3" fmla="*/ 373386 h 746771"/>
              <a:gd name="connsiteX4" fmla="*/ 607055 w 980440"/>
              <a:gd name="connsiteY4" fmla="*/ 746771 h 746771"/>
              <a:gd name="connsiteX5" fmla="*/ 607055 w 980440"/>
              <a:gd name="connsiteY5" fmla="*/ 560078 h 746771"/>
              <a:gd name="connsiteX6" fmla="*/ 0 w 980440"/>
              <a:gd name="connsiteY6" fmla="*/ 560078 h 746771"/>
              <a:gd name="connsiteX0" fmla="*/ 1615440 w 2595880"/>
              <a:gd name="connsiteY0" fmla="*/ 186693 h 746771"/>
              <a:gd name="connsiteX1" fmla="*/ 2222495 w 2595880"/>
              <a:gd name="connsiteY1" fmla="*/ 186693 h 746771"/>
              <a:gd name="connsiteX2" fmla="*/ 2222495 w 2595880"/>
              <a:gd name="connsiteY2" fmla="*/ 0 h 746771"/>
              <a:gd name="connsiteX3" fmla="*/ 2595880 w 2595880"/>
              <a:gd name="connsiteY3" fmla="*/ 373386 h 746771"/>
              <a:gd name="connsiteX4" fmla="*/ 2222495 w 2595880"/>
              <a:gd name="connsiteY4" fmla="*/ 746771 h 746771"/>
              <a:gd name="connsiteX5" fmla="*/ 2222495 w 2595880"/>
              <a:gd name="connsiteY5" fmla="*/ 560078 h 746771"/>
              <a:gd name="connsiteX6" fmla="*/ 0 w 2595880"/>
              <a:gd name="connsiteY6" fmla="*/ 575318 h 746771"/>
              <a:gd name="connsiteX0" fmla="*/ 1615440 w 2595880"/>
              <a:gd name="connsiteY0" fmla="*/ 186693 h 746771"/>
              <a:gd name="connsiteX1" fmla="*/ 2222495 w 2595880"/>
              <a:gd name="connsiteY1" fmla="*/ 186693 h 746771"/>
              <a:gd name="connsiteX2" fmla="*/ 2222495 w 2595880"/>
              <a:gd name="connsiteY2" fmla="*/ 0 h 746771"/>
              <a:gd name="connsiteX3" fmla="*/ 2595880 w 2595880"/>
              <a:gd name="connsiteY3" fmla="*/ 373386 h 746771"/>
              <a:gd name="connsiteX4" fmla="*/ 2222495 w 2595880"/>
              <a:gd name="connsiteY4" fmla="*/ 746771 h 746771"/>
              <a:gd name="connsiteX5" fmla="*/ 2222495 w 2595880"/>
              <a:gd name="connsiteY5" fmla="*/ 560078 h 746771"/>
              <a:gd name="connsiteX6" fmla="*/ 0 w 2595880"/>
              <a:gd name="connsiteY6" fmla="*/ 565158 h 746771"/>
              <a:gd name="connsiteX0" fmla="*/ 1610360 w 2590800"/>
              <a:gd name="connsiteY0" fmla="*/ 186693 h 746771"/>
              <a:gd name="connsiteX1" fmla="*/ 2217415 w 2590800"/>
              <a:gd name="connsiteY1" fmla="*/ 186693 h 746771"/>
              <a:gd name="connsiteX2" fmla="*/ 2217415 w 2590800"/>
              <a:gd name="connsiteY2" fmla="*/ 0 h 746771"/>
              <a:gd name="connsiteX3" fmla="*/ 2590800 w 2590800"/>
              <a:gd name="connsiteY3" fmla="*/ 373386 h 746771"/>
              <a:gd name="connsiteX4" fmla="*/ 2217415 w 2590800"/>
              <a:gd name="connsiteY4" fmla="*/ 746771 h 746771"/>
              <a:gd name="connsiteX5" fmla="*/ 2217415 w 2590800"/>
              <a:gd name="connsiteY5" fmla="*/ 560078 h 746771"/>
              <a:gd name="connsiteX6" fmla="*/ 0 w 2590800"/>
              <a:gd name="connsiteY6" fmla="*/ 494038 h 746771"/>
              <a:gd name="connsiteX0" fmla="*/ 1610360 w 2590800"/>
              <a:gd name="connsiteY0" fmla="*/ 186693 h 746771"/>
              <a:gd name="connsiteX1" fmla="*/ 2217415 w 2590800"/>
              <a:gd name="connsiteY1" fmla="*/ 186693 h 746771"/>
              <a:gd name="connsiteX2" fmla="*/ 2217415 w 2590800"/>
              <a:gd name="connsiteY2" fmla="*/ 0 h 746771"/>
              <a:gd name="connsiteX3" fmla="*/ 2590800 w 2590800"/>
              <a:gd name="connsiteY3" fmla="*/ 373386 h 746771"/>
              <a:gd name="connsiteX4" fmla="*/ 2217415 w 2590800"/>
              <a:gd name="connsiteY4" fmla="*/ 746771 h 746771"/>
              <a:gd name="connsiteX5" fmla="*/ 2217415 w 2590800"/>
              <a:gd name="connsiteY5" fmla="*/ 560078 h 746771"/>
              <a:gd name="connsiteX6" fmla="*/ 0 w 2590800"/>
              <a:gd name="connsiteY6" fmla="*/ 570238 h 746771"/>
              <a:gd name="connsiteX0" fmla="*/ 2177496 w 3157936"/>
              <a:gd name="connsiteY0" fmla="*/ 186693 h 746771"/>
              <a:gd name="connsiteX1" fmla="*/ 2784551 w 3157936"/>
              <a:gd name="connsiteY1" fmla="*/ 186693 h 746771"/>
              <a:gd name="connsiteX2" fmla="*/ 2784551 w 3157936"/>
              <a:gd name="connsiteY2" fmla="*/ 0 h 746771"/>
              <a:gd name="connsiteX3" fmla="*/ 3157936 w 3157936"/>
              <a:gd name="connsiteY3" fmla="*/ 373386 h 746771"/>
              <a:gd name="connsiteX4" fmla="*/ 2784551 w 3157936"/>
              <a:gd name="connsiteY4" fmla="*/ 746771 h 746771"/>
              <a:gd name="connsiteX5" fmla="*/ 2784551 w 3157936"/>
              <a:gd name="connsiteY5" fmla="*/ 560078 h 746771"/>
              <a:gd name="connsiteX6" fmla="*/ 0 w 3157936"/>
              <a:gd name="connsiteY6" fmla="*/ 570238 h 746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57936" h="746771">
                <a:moveTo>
                  <a:pt x="2177496" y="186693"/>
                </a:moveTo>
                <a:lnTo>
                  <a:pt x="2784551" y="186693"/>
                </a:lnTo>
                <a:lnTo>
                  <a:pt x="2784551" y="0"/>
                </a:lnTo>
                <a:lnTo>
                  <a:pt x="3157936" y="373386"/>
                </a:lnTo>
                <a:lnTo>
                  <a:pt x="2784551" y="746771"/>
                </a:lnTo>
                <a:lnTo>
                  <a:pt x="2784551" y="560078"/>
                </a:lnTo>
                <a:lnTo>
                  <a:pt x="0" y="570238"/>
                </a:lnTo>
              </a:path>
            </a:pathLst>
          </a:cu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45" name="Arc 44">
            <a:extLst>
              <a:ext uri="{FF2B5EF4-FFF2-40B4-BE49-F238E27FC236}">
                <a16:creationId xmlns:a16="http://schemas.microsoft.com/office/drawing/2014/main" id="{5FA2D6F3-CF09-4BE0-994B-0318B344227F}"/>
              </a:ext>
            </a:extLst>
          </p:cNvPr>
          <p:cNvSpPr/>
          <p:nvPr userDrawn="1"/>
        </p:nvSpPr>
        <p:spPr>
          <a:xfrm>
            <a:off x="5003753" y="1903604"/>
            <a:ext cx="2139897" cy="2139897"/>
          </a:xfrm>
          <a:prstGeom prst="arc">
            <a:avLst>
              <a:gd name="adj1" fmla="val 11169507"/>
              <a:gd name="adj2" fmla="val 21304215"/>
            </a:avLst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46" name="Arc 45">
            <a:extLst>
              <a:ext uri="{FF2B5EF4-FFF2-40B4-BE49-F238E27FC236}">
                <a16:creationId xmlns:a16="http://schemas.microsoft.com/office/drawing/2014/main" id="{9CBFA4DF-3824-4C0B-B38C-1ABCECDE4DB6}"/>
              </a:ext>
            </a:extLst>
          </p:cNvPr>
          <p:cNvSpPr/>
          <p:nvPr userDrawn="1"/>
        </p:nvSpPr>
        <p:spPr>
          <a:xfrm>
            <a:off x="5003753" y="1903604"/>
            <a:ext cx="2139897" cy="2139897"/>
          </a:xfrm>
          <a:prstGeom prst="arc">
            <a:avLst>
              <a:gd name="adj1" fmla="val 471098"/>
              <a:gd name="adj2" fmla="val 10441694"/>
            </a:avLst>
          </a:prstGeom>
          <a:ln w="63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47" name="Arrow: Right 8">
            <a:extLst>
              <a:ext uri="{FF2B5EF4-FFF2-40B4-BE49-F238E27FC236}">
                <a16:creationId xmlns:a16="http://schemas.microsoft.com/office/drawing/2014/main" id="{BB6C3DB8-880F-4DB8-B2F6-337F583E62FE}"/>
              </a:ext>
            </a:extLst>
          </p:cNvPr>
          <p:cNvSpPr/>
          <p:nvPr userDrawn="1"/>
        </p:nvSpPr>
        <p:spPr>
          <a:xfrm>
            <a:off x="5856484" y="2764342"/>
            <a:ext cx="1769408" cy="418421"/>
          </a:xfrm>
          <a:custGeom>
            <a:avLst/>
            <a:gdLst>
              <a:gd name="connsiteX0" fmla="*/ 0 w 980440"/>
              <a:gd name="connsiteY0" fmla="*/ 186693 h 746771"/>
              <a:gd name="connsiteX1" fmla="*/ 607055 w 980440"/>
              <a:gd name="connsiteY1" fmla="*/ 186693 h 746771"/>
              <a:gd name="connsiteX2" fmla="*/ 607055 w 980440"/>
              <a:gd name="connsiteY2" fmla="*/ 0 h 746771"/>
              <a:gd name="connsiteX3" fmla="*/ 980440 w 980440"/>
              <a:gd name="connsiteY3" fmla="*/ 373386 h 746771"/>
              <a:gd name="connsiteX4" fmla="*/ 607055 w 980440"/>
              <a:gd name="connsiteY4" fmla="*/ 746771 h 746771"/>
              <a:gd name="connsiteX5" fmla="*/ 607055 w 980440"/>
              <a:gd name="connsiteY5" fmla="*/ 560078 h 746771"/>
              <a:gd name="connsiteX6" fmla="*/ 0 w 980440"/>
              <a:gd name="connsiteY6" fmla="*/ 560078 h 746771"/>
              <a:gd name="connsiteX7" fmla="*/ 0 w 980440"/>
              <a:gd name="connsiteY7" fmla="*/ 186693 h 746771"/>
              <a:gd name="connsiteX0" fmla="*/ 0 w 980440"/>
              <a:gd name="connsiteY0" fmla="*/ 186693 h 746771"/>
              <a:gd name="connsiteX1" fmla="*/ 607055 w 980440"/>
              <a:gd name="connsiteY1" fmla="*/ 186693 h 746771"/>
              <a:gd name="connsiteX2" fmla="*/ 607055 w 980440"/>
              <a:gd name="connsiteY2" fmla="*/ 0 h 746771"/>
              <a:gd name="connsiteX3" fmla="*/ 980440 w 980440"/>
              <a:gd name="connsiteY3" fmla="*/ 373386 h 746771"/>
              <a:gd name="connsiteX4" fmla="*/ 607055 w 980440"/>
              <a:gd name="connsiteY4" fmla="*/ 746771 h 746771"/>
              <a:gd name="connsiteX5" fmla="*/ 607055 w 980440"/>
              <a:gd name="connsiteY5" fmla="*/ 560078 h 746771"/>
              <a:gd name="connsiteX6" fmla="*/ 0 w 980440"/>
              <a:gd name="connsiteY6" fmla="*/ 560078 h 746771"/>
              <a:gd name="connsiteX7" fmla="*/ 91440 w 980440"/>
              <a:gd name="connsiteY7" fmla="*/ 278133 h 746771"/>
              <a:gd name="connsiteX0" fmla="*/ 0 w 980440"/>
              <a:gd name="connsiteY0" fmla="*/ 186693 h 746771"/>
              <a:gd name="connsiteX1" fmla="*/ 607055 w 980440"/>
              <a:gd name="connsiteY1" fmla="*/ 186693 h 746771"/>
              <a:gd name="connsiteX2" fmla="*/ 607055 w 980440"/>
              <a:gd name="connsiteY2" fmla="*/ 0 h 746771"/>
              <a:gd name="connsiteX3" fmla="*/ 980440 w 980440"/>
              <a:gd name="connsiteY3" fmla="*/ 373386 h 746771"/>
              <a:gd name="connsiteX4" fmla="*/ 607055 w 980440"/>
              <a:gd name="connsiteY4" fmla="*/ 746771 h 746771"/>
              <a:gd name="connsiteX5" fmla="*/ 607055 w 980440"/>
              <a:gd name="connsiteY5" fmla="*/ 560078 h 746771"/>
              <a:gd name="connsiteX6" fmla="*/ 0 w 980440"/>
              <a:gd name="connsiteY6" fmla="*/ 560078 h 746771"/>
              <a:gd name="connsiteX0" fmla="*/ 1615440 w 2595880"/>
              <a:gd name="connsiteY0" fmla="*/ 186693 h 746771"/>
              <a:gd name="connsiteX1" fmla="*/ 2222495 w 2595880"/>
              <a:gd name="connsiteY1" fmla="*/ 186693 h 746771"/>
              <a:gd name="connsiteX2" fmla="*/ 2222495 w 2595880"/>
              <a:gd name="connsiteY2" fmla="*/ 0 h 746771"/>
              <a:gd name="connsiteX3" fmla="*/ 2595880 w 2595880"/>
              <a:gd name="connsiteY3" fmla="*/ 373386 h 746771"/>
              <a:gd name="connsiteX4" fmla="*/ 2222495 w 2595880"/>
              <a:gd name="connsiteY4" fmla="*/ 746771 h 746771"/>
              <a:gd name="connsiteX5" fmla="*/ 2222495 w 2595880"/>
              <a:gd name="connsiteY5" fmla="*/ 560078 h 746771"/>
              <a:gd name="connsiteX6" fmla="*/ 0 w 2595880"/>
              <a:gd name="connsiteY6" fmla="*/ 575318 h 746771"/>
              <a:gd name="connsiteX0" fmla="*/ 1615440 w 2595880"/>
              <a:gd name="connsiteY0" fmla="*/ 186693 h 746771"/>
              <a:gd name="connsiteX1" fmla="*/ 2222495 w 2595880"/>
              <a:gd name="connsiteY1" fmla="*/ 186693 h 746771"/>
              <a:gd name="connsiteX2" fmla="*/ 2222495 w 2595880"/>
              <a:gd name="connsiteY2" fmla="*/ 0 h 746771"/>
              <a:gd name="connsiteX3" fmla="*/ 2595880 w 2595880"/>
              <a:gd name="connsiteY3" fmla="*/ 373386 h 746771"/>
              <a:gd name="connsiteX4" fmla="*/ 2222495 w 2595880"/>
              <a:gd name="connsiteY4" fmla="*/ 746771 h 746771"/>
              <a:gd name="connsiteX5" fmla="*/ 2222495 w 2595880"/>
              <a:gd name="connsiteY5" fmla="*/ 560078 h 746771"/>
              <a:gd name="connsiteX6" fmla="*/ 0 w 2595880"/>
              <a:gd name="connsiteY6" fmla="*/ 565158 h 746771"/>
              <a:gd name="connsiteX0" fmla="*/ 1610360 w 2590800"/>
              <a:gd name="connsiteY0" fmla="*/ 186693 h 746771"/>
              <a:gd name="connsiteX1" fmla="*/ 2217415 w 2590800"/>
              <a:gd name="connsiteY1" fmla="*/ 186693 h 746771"/>
              <a:gd name="connsiteX2" fmla="*/ 2217415 w 2590800"/>
              <a:gd name="connsiteY2" fmla="*/ 0 h 746771"/>
              <a:gd name="connsiteX3" fmla="*/ 2590800 w 2590800"/>
              <a:gd name="connsiteY3" fmla="*/ 373386 h 746771"/>
              <a:gd name="connsiteX4" fmla="*/ 2217415 w 2590800"/>
              <a:gd name="connsiteY4" fmla="*/ 746771 h 746771"/>
              <a:gd name="connsiteX5" fmla="*/ 2217415 w 2590800"/>
              <a:gd name="connsiteY5" fmla="*/ 560078 h 746771"/>
              <a:gd name="connsiteX6" fmla="*/ 0 w 2590800"/>
              <a:gd name="connsiteY6" fmla="*/ 494038 h 746771"/>
              <a:gd name="connsiteX0" fmla="*/ 1610360 w 2590800"/>
              <a:gd name="connsiteY0" fmla="*/ 186693 h 746771"/>
              <a:gd name="connsiteX1" fmla="*/ 2217415 w 2590800"/>
              <a:gd name="connsiteY1" fmla="*/ 186693 h 746771"/>
              <a:gd name="connsiteX2" fmla="*/ 2217415 w 2590800"/>
              <a:gd name="connsiteY2" fmla="*/ 0 h 746771"/>
              <a:gd name="connsiteX3" fmla="*/ 2590800 w 2590800"/>
              <a:gd name="connsiteY3" fmla="*/ 373386 h 746771"/>
              <a:gd name="connsiteX4" fmla="*/ 2217415 w 2590800"/>
              <a:gd name="connsiteY4" fmla="*/ 746771 h 746771"/>
              <a:gd name="connsiteX5" fmla="*/ 2217415 w 2590800"/>
              <a:gd name="connsiteY5" fmla="*/ 560078 h 746771"/>
              <a:gd name="connsiteX6" fmla="*/ 0 w 2590800"/>
              <a:gd name="connsiteY6" fmla="*/ 570238 h 746771"/>
              <a:gd name="connsiteX0" fmla="*/ 2177496 w 3157936"/>
              <a:gd name="connsiteY0" fmla="*/ 186693 h 746771"/>
              <a:gd name="connsiteX1" fmla="*/ 2784551 w 3157936"/>
              <a:gd name="connsiteY1" fmla="*/ 186693 h 746771"/>
              <a:gd name="connsiteX2" fmla="*/ 2784551 w 3157936"/>
              <a:gd name="connsiteY2" fmla="*/ 0 h 746771"/>
              <a:gd name="connsiteX3" fmla="*/ 3157936 w 3157936"/>
              <a:gd name="connsiteY3" fmla="*/ 373386 h 746771"/>
              <a:gd name="connsiteX4" fmla="*/ 2784551 w 3157936"/>
              <a:gd name="connsiteY4" fmla="*/ 746771 h 746771"/>
              <a:gd name="connsiteX5" fmla="*/ 2784551 w 3157936"/>
              <a:gd name="connsiteY5" fmla="*/ 560078 h 746771"/>
              <a:gd name="connsiteX6" fmla="*/ 0 w 3157936"/>
              <a:gd name="connsiteY6" fmla="*/ 570238 h 746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57936" h="746771">
                <a:moveTo>
                  <a:pt x="2177496" y="186693"/>
                </a:moveTo>
                <a:lnTo>
                  <a:pt x="2784551" y="186693"/>
                </a:lnTo>
                <a:lnTo>
                  <a:pt x="2784551" y="0"/>
                </a:lnTo>
                <a:lnTo>
                  <a:pt x="3157936" y="373386"/>
                </a:lnTo>
                <a:lnTo>
                  <a:pt x="2784551" y="746771"/>
                </a:lnTo>
                <a:lnTo>
                  <a:pt x="2784551" y="560078"/>
                </a:lnTo>
                <a:lnTo>
                  <a:pt x="0" y="570238"/>
                </a:lnTo>
              </a:path>
            </a:pathLst>
          </a:cu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48" name="Arc 47">
            <a:extLst>
              <a:ext uri="{FF2B5EF4-FFF2-40B4-BE49-F238E27FC236}">
                <a16:creationId xmlns:a16="http://schemas.microsoft.com/office/drawing/2014/main" id="{D8A565E5-4ADC-46DD-A654-7BA94F97D916}"/>
              </a:ext>
            </a:extLst>
          </p:cNvPr>
          <p:cNvSpPr/>
          <p:nvPr userDrawn="1"/>
        </p:nvSpPr>
        <p:spPr>
          <a:xfrm>
            <a:off x="7245277" y="1903604"/>
            <a:ext cx="2139897" cy="2139897"/>
          </a:xfrm>
          <a:prstGeom prst="arc">
            <a:avLst>
              <a:gd name="adj1" fmla="val 11109170"/>
              <a:gd name="adj2" fmla="val 21204980"/>
            </a:avLst>
          </a:prstGeom>
          <a:ln w="63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800"/>
          </a:p>
        </p:txBody>
      </p:sp>
      <p:sp>
        <p:nvSpPr>
          <p:cNvPr id="49" name="Arc 48">
            <a:extLst>
              <a:ext uri="{FF2B5EF4-FFF2-40B4-BE49-F238E27FC236}">
                <a16:creationId xmlns:a16="http://schemas.microsoft.com/office/drawing/2014/main" id="{7CD4BCCD-EA8A-4382-B873-E1769F7F58B3}"/>
              </a:ext>
            </a:extLst>
          </p:cNvPr>
          <p:cNvSpPr/>
          <p:nvPr userDrawn="1"/>
        </p:nvSpPr>
        <p:spPr>
          <a:xfrm>
            <a:off x="7245277" y="1903604"/>
            <a:ext cx="2139897" cy="2139897"/>
          </a:xfrm>
          <a:prstGeom prst="arc">
            <a:avLst>
              <a:gd name="adj1" fmla="val 349057"/>
              <a:gd name="adj2" fmla="val 10448657"/>
            </a:avLst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800"/>
          </a:p>
        </p:txBody>
      </p:sp>
      <p:sp>
        <p:nvSpPr>
          <p:cNvPr id="56" name="Arrow: Right 8">
            <a:extLst>
              <a:ext uri="{FF2B5EF4-FFF2-40B4-BE49-F238E27FC236}">
                <a16:creationId xmlns:a16="http://schemas.microsoft.com/office/drawing/2014/main" id="{9EBF435E-87F3-4EF4-B669-6035B3A1880E}"/>
              </a:ext>
            </a:extLst>
          </p:cNvPr>
          <p:cNvSpPr/>
          <p:nvPr userDrawn="1"/>
        </p:nvSpPr>
        <p:spPr>
          <a:xfrm>
            <a:off x="8136088" y="2764342"/>
            <a:ext cx="1769408" cy="418421"/>
          </a:xfrm>
          <a:custGeom>
            <a:avLst/>
            <a:gdLst>
              <a:gd name="connsiteX0" fmla="*/ 0 w 980440"/>
              <a:gd name="connsiteY0" fmla="*/ 186693 h 746771"/>
              <a:gd name="connsiteX1" fmla="*/ 607055 w 980440"/>
              <a:gd name="connsiteY1" fmla="*/ 186693 h 746771"/>
              <a:gd name="connsiteX2" fmla="*/ 607055 w 980440"/>
              <a:gd name="connsiteY2" fmla="*/ 0 h 746771"/>
              <a:gd name="connsiteX3" fmla="*/ 980440 w 980440"/>
              <a:gd name="connsiteY3" fmla="*/ 373386 h 746771"/>
              <a:gd name="connsiteX4" fmla="*/ 607055 w 980440"/>
              <a:gd name="connsiteY4" fmla="*/ 746771 h 746771"/>
              <a:gd name="connsiteX5" fmla="*/ 607055 w 980440"/>
              <a:gd name="connsiteY5" fmla="*/ 560078 h 746771"/>
              <a:gd name="connsiteX6" fmla="*/ 0 w 980440"/>
              <a:gd name="connsiteY6" fmla="*/ 560078 h 746771"/>
              <a:gd name="connsiteX7" fmla="*/ 0 w 980440"/>
              <a:gd name="connsiteY7" fmla="*/ 186693 h 746771"/>
              <a:gd name="connsiteX0" fmla="*/ 0 w 980440"/>
              <a:gd name="connsiteY0" fmla="*/ 186693 h 746771"/>
              <a:gd name="connsiteX1" fmla="*/ 607055 w 980440"/>
              <a:gd name="connsiteY1" fmla="*/ 186693 h 746771"/>
              <a:gd name="connsiteX2" fmla="*/ 607055 w 980440"/>
              <a:gd name="connsiteY2" fmla="*/ 0 h 746771"/>
              <a:gd name="connsiteX3" fmla="*/ 980440 w 980440"/>
              <a:gd name="connsiteY3" fmla="*/ 373386 h 746771"/>
              <a:gd name="connsiteX4" fmla="*/ 607055 w 980440"/>
              <a:gd name="connsiteY4" fmla="*/ 746771 h 746771"/>
              <a:gd name="connsiteX5" fmla="*/ 607055 w 980440"/>
              <a:gd name="connsiteY5" fmla="*/ 560078 h 746771"/>
              <a:gd name="connsiteX6" fmla="*/ 0 w 980440"/>
              <a:gd name="connsiteY6" fmla="*/ 560078 h 746771"/>
              <a:gd name="connsiteX7" fmla="*/ 91440 w 980440"/>
              <a:gd name="connsiteY7" fmla="*/ 278133 h 746771"/>
              <a:gd name="connsiteX0" fmla="*/ 0 w 980440"/>
              <a:gd name="connsiteY0" fmla="*/ 186693 h 746771"/>
              <a:gd name="connsiteX1" fmla="*/ 607055 w 980440"/>
              <a:gd name="connsiteY1" fmla="*/ 186693 h 746771"/>
              <a:gd name="connsiteX2" fmla="*/ 607055 w 980440"/>
              <a:gd name="connsiteY2" fmla="*/ 0 h 746771"/>
              <a:gd name="connsiteX3" fmla="*/ 980440 w 980440"/>
              <a:gd name="connsiteY3" fmla="*/ 373386 h 746771"/>
              <a:gd name="connsiteX4" fmla="*/ 607055 w 980440"/>
              <a:gd name="connsiteY4" fmla="*/ 746771 h 746771"/>
              <a:gd name="connsiteX5" fmla="*/ 607055 w 980440"/>
              <a:gd name="connsiteY5" fmla="*/ 560078 h 746771"/>
              <a:gd name="connsiteX6" fmla="*/ 0 w 980440"/>
              <a:gd name="connsiteY6" fmla="*/ 560078 h 746771"/>
              <a:gd name="connsiteX0" fmla="*/ 1615440 w 2595880"/>
              <a:gd name="connsiteY0" fmla="*/ 186693 h 746771"/>
              <a:gd name="connsiteX1" fmla="*/ 2222495 w 2595880"/>
              <a:gd name="connsiteY1" fmla="*/ 186693 h 746771"/>
              <a:gd name="connsiteX2" fmla="*/ 2222495 w 2595880"/>
              <a:gd name="connsiteY2" fmla="*/ 0 h 746771"/>
              <a:gd name="connsiteX3" fmla="*/ 2595880 w 2595880"/>
              <a:gd name="connsiteY3" fmla="*/ 373386 h 746771"/>
              <a:gd name="connsiteX4" fmla="*/ 2222495 w 2595880"/>
              <a:gd name="connsiteY4" fmla="*/ 746771 h 746771"/>
              <a:gd name="connsiteX5" fmla="*/ 2222495 w 2595880"/>
              <a:gd name="connsiteY5" fmla="*/ 560078 h 746771"/>
              <a:gd name="connsiteX6" fmla="*/ 0 w 2595880"/>
              <a:gd name="connsiteY6" fmla="*/ 575318 h 746771"/>
              <a:gd name="connsiteX0" fmla="*/ 1615440 w 2595880"/>
              <a:gd name="connsiteY0" fmla="*/ 186693 h 746771"/>
              <a:gd name="connsiteX1" fmla="*/ 2222495 w 2595880"/>
              <a:gd name="connsiteY1" fmla="*/ 186693 h 746771"/>
              <a:gd name="connsiteX2" fmla="*/ 2222495 w 2595880"/>
              <a:gd name="connsiteY2" fmla="*/ 0 h 746771"/>
              <a:gd name="connsiteX3" fmla="*/ 2595880 w 2595880"/>
              <a:gd name="connsiteY3" fmla="*/ 373386 h 746771"/>
              <a:gd name="connsiteX4" fmla="*/ 2222495 w 2595880"/>
              <a:gd name="connsiteY4" fmla="*/ 746771 h 746771"/>
              <a:gd name="connsiteX5" fmla="*/ 2222495 w 2595880"/>
              <a:gd name="connsiteY5" fmla="*/ 560078 h 746771"/>
              <a:gd name="connsiteX6" fmla="*/ 0 w 2595880"/>
              <a:gd name="connsiteY6" fmla="*/ 565158 h 746771"/>
              <a:gd name="connsiteX0" fmla="*/ 1610360 w 2590800"/>
              <a:gd name="connsiteY0" fmla="*/ 186693 h 746771"/>
              <a:gd name="connsiteX1" fmla="*/ 2217415 w 2590800"/>
              <a:gd name="connsiteY1" fmla="*/ 186693 h 746771"/>
              <a:gd name="connsiteX2" fmla="*/ 2217415 w 2590800"/>
              <a:gd name="connsiteY2" fmla="*/ 0 h 746771"/>
              <a:gd name="connsiteX3" fmla="*/ 2590800 w 2590800"/>
              <a:gd name="connsiteY3" fmla="*/ 373386 h 746771"/>
              <a:gd name="connsiteX4" fmla="*/ 2217415 w 2590800"/>
              <a:gd name="connsiteY4" fmla="*/ 746771 h 746771"/>
              <a:gd name="connsiteX5" fmla="*/ 2217415 w 2590800"/>
              <a:gd name="connsiteY5" fmla="*/ 560078 h 746771"/>
              <a:gd name="connsiteX6" fmla="*/ 0 w 2590800"/>
              <a:gd name="connsiteY6" fmla="*/ 494038 h 746771"/>
              <a:gd name="connsiteX0" fmla="*/ 1610360 w 2590800"/>
              <a:gd name="connsiteY0" fmla="*/ 186693 h 746771"/>
              <a:gd name="connsiteX1" fmla="*/ 2217415 w 2590800"/>
              <a:gd name="connsiteY1" fmla="*/ 186693 h 746771"/>
              <a:gd name="connsiteX2" fmla="*/ 2217415 w 2590800"/>
              <a:gd name="connsiteY2" fmla="*/ 0 h 746771"/>
              <a:gd name="connsiteX3" fmla="*/ 2590800 w 2590800"/>
              <a:gd name="connsiteY3" fmla="*/ 373386 h 746771"/>
              <a:gd name="connsiteX4" fmla="*/ 2217415 w 2590800"/>
              <a:gd name="connsiteY4" fmla="*/ 746771 h 746771"/>
              <a:gd name="connsiteX5" fmla="*/ 2217415 w 2590800"/>
              <a:gd name="connsiteY5" fmla="*/ 560078 h 746771"/>
              <a:gd name="connsiteX6" fmla="*/ 0 w 2590800"/>
              <a:gd name="connsiteY6" fmla="*/ 570238 h 746771"/>
              <a:gd name="connsiteX0" fmla="*/ 2177496 w 3157936"/>
              <a:gd name="connsiteY0" fmla="*/ 186693 h 746771"/>
              <a:gd name="connsiteX1" fmla="*/ 2784551 w 3157936"/>
              <a:gd name="connsiteY1" fmla="*/ 186693 h 746771"/>
              <a:gd name="connsiteX2" fmla="*/ 2784551 w 3157936"/>
              <a:gd name="connsiteY2" fmla="*/ 0 h 746771"/>
              <a:gd name="connsiteX3" fmla="*/ 3157936 w 3157936"/>
              <a:gd name="connsiteY3" fmla="*/ 373386 h 746771"/>
              <a:gd name="connsiteX4" fmla="*/ 2784551 w 3157936"/>
              <a:gd name="connsiteY4" fmla="*/ 746771 h 746771"/>
              <a:gd name="connsiteX5" fmla="*/ 2784551 w 3157936"/>
              <a:gd name="connsiteY5" fmla="*/ 560078 h 746771"/>
              <a:gd name="connsiteX6" fmla="*/ 0 w 3157936"/>
              <a:gd name="connsiteY6" fmla="*/ 570238 h 746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57936" h="746771">
                <a:moveTo>
                  <a:pt x="2177496" y="186693"/>
                </a:moveTo>
                <a:lnTo>
                  <a:pt x="2784551" y="186693"/>
                </a:lnTo>
                <a:lnTo>
                  <a:pt x="2784551" y="0"/>
                </a:lnTo>
                <a:lnTo>
                  <a:pt x="3157936" y="373386"/>
                </a:lnTo>
                <a:lnTo>
                  <a:pt x="2784551" y="746771"/>
                </a:lnTo>
                <a:lnTo>
                  <a:pt x="2784551" y="560078"/>
                </a:lnTo>
                <a:lnTo>
                  <a:pt x="0" y="570238"/>
                </a:lnTo>
              </a:path>
            </a:pathLst>
          </a:cu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57" name="Arc 56">
            <a:extLst>
              <a:ext uri="{FF2B5EF4-FFF2-40B4-BE49-F238E27FC236}">
                <a16:creationId xmlns:a16="http://schemas.microsoft.com/office/drawing/2014/main" id="{A8EE1277-FE82-4822-A85D-B1B0E940EA07}"/>
              </a:ext>
            </a:extLst>
          </p:cNvPr>
          <p:cNvSpPr/>
          <p:nvPr userDrawn="1"/>
        </p:nvSpPr>
        <p:spPr>
          <a:xfrm>
            <a:off x="9531405" y="1903604"/>
            <a:ext cx="2139897" cy="2139897"/>
          </a:xfrm>
          <a:prstGeom prst="arc">
            <a:avLst>
              <a:gd name="adj1" fmla="val 11169507"/>
              <a:gd name="adj2" fmla="val 146547"/>
            </a:avLst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58" name="Arc 57">
            <a:extLst>
              <a:ext uri="{FF2B5EF4-FFF2-40B4-BE49-F238E27FC236}">
                <a16:creationId xmlns:a16="http://schemas.microsoft.com/office/drawing/2014/main" id="{A6455670-9200-4075-8FD1-258D64C3BC53}"/>
              </a:ext>
            </a:extLst>
          </p:cNvPr>
          <p:cNvSpPr/>
          <p:nvPr userDrawn="1"/>
        </p:nvSpPr>
        <p:spPr>
          <a:xfrm>
            <a:off x="9531405" y="1903604"/>
            <a:ext cx="2139897" cy="2139897"/>
          </a:xfrm>
          <a:prstGeom prst="arc">
            <a:avLst>
              <a:gd name="adj1" fmla="val 21586752"/>
              <a:gd name="adj2" fmla="val 10460422"/>
            </a:avLst>
          </a:prstGeom>
          <a:ln w="63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59" name="Text Placeholder 20">
            <a:extLst>
              <a:ext uri="{FF2B5EF4-FFF2-40B4-BE49-F238E27FC236}">
                <a16:creationId xmlns:a16="http://schemas.microsoft.com/office/drawing/2014/main" id="{93D125A3-FE88-471A-B8F0-E6658064BC4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49545" y="2316494"/>
            <a:ext cx="1765256" cy="72713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Insert Month Here</a:t>
            </a:r>
            <a:endParaRPr lang="en-GB" dirty="0"/>
          </a:p>
        </p:txBody>
      </p:sp>
      <p:sp>
        <p:nvSpPr>
          <p:cNvPr id="60" name="Text Placeholder 20">
            <a:extLst>
              <a:ext uri="{FF2B5EF4-FFF2-40B4-BE49-F238E27FC236}">
                <a16:creationId xmlns:a16="http://schemas.microsoft.com/office/drawing/2014/main" id="{C549A8A3-BB0C-4101-A046-583DF42604F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91071" y="2316494"/>
            <a:ext cx="1765256" cy="72713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Insert Month Here</a:t>
            </a:r>
            <a:endParaRPr lang="en-GB" dirty="0"/>
          </a:p>
        </p:txBody>
      </p:sp>
      <p:sp>
        <p:nvSpPr>
          <p:cNvPr id="61" name="Text Placeholder 20">
            <a:extLst>
              <a:ext uri="{FF2B5EF4-FFF2-40B4-BE49-F238E27FC236}">
                <a16:creationId xmlns:a16="http://schemas.microsoft.com/office/drawing/2014/main" id="{667F4ED1-0A00-45A4-8E1F-9AFC0468DB9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432596" y="2316494"/>
            <a:ext cx="1765256" cy="72713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Insert Month Here</a:t>
            </a:r>
            <a:endParaRPr lang="en-GB" dirty="0"/>
          </a:p>
        </p:txBody>
      </p:sp>
      <p:sp>
        <p:nvSpPr>
          <p:cNvPr id="62" name="Text Placeholder 20">
            <a:extLst>
              <a:ext uri="{FF2B5EF4-FFF2-40B4-BE49-F238E27FC236}">
                <a16:creationId xmlns:a16="http://schemas.microsoft.com/office/drawing/2014/main" id="{25CBF8A6-65A4-4273-B853-F7256AC4B41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718723" y="2316494"/>
            <a:ext cx="1765256" cy="72713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Insert Month Here</a:t>
            </a:r>
            <a:endParaRPr lang="en-GB" dirty="0"/>
          </a:p>
        </p:txBody>
      </p:sp>
      <p:sp>
        <p:nvSpPr>
          <p:cNvPr id="63" name="Text Placeholder 20">
            <a:extLst>
              <a:ext uri="{FF2B5EF4-FFF2-40B4-BE49-F238E27FC236}">
                <a16:creationId xmlns:a16="http://schemas.microsoft.com/office/drawing/2014/main" id="{49AB2AAA-8826-4084-A6B6-6474D4FFA66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762226" y="4625327"/>
            <a:ext cx="2139897" cy="1569098"/>
          </a:xfrm>
        </p:spPr>
        <p:txBody>
          <a:bodyPr anchor="t">
            <a:noAutofit/>
          </a:bodyPr>
          <a:lstStyle>
            <a:lvl1pPr marL="0" indent="0" algn="ctr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Insert Text Here</a:t>
            </a:r>
            <a:endParaRPr lang="en-GB" dirty="0"/>
          </a:p>
        </p:txBody>
      </p:sp>
      <p:sp>
        <p:nvSpPr>
          <p:cNvPr id="64" name="Text Placeholder 20">
            <a:extLst>
              <a:ext uri="{FF2B5EF4-FFF2-40B4-BE49-F238E27FC236}">
                <a16:creationId xmlns:a16="http://schemas.microsoft.com/office/drawing/2014/main" id="{F8551EBC-A275-4920-A819-8AFBCDEDC91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003753" y="4625327"/>
            <a:ext cx="2139897" cy="1569098"/>
          </a:xfrm>
        </p:spPr>
        <p:txBody>
          <a:bodyPr anchor="t">
            <a:noAutofit/>
          </a:bodyPr>
          <a:lstStyle>
            <a:lvl1pPr marL="0" indent="0" algn="ctr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Insert Text Here</a:t>
            </a:r>
            <a:endParaRPr lang="en-GB" dirty="0"/>
          </a:p>
        </p:txBody>
      </p:sp>
      <p:sp>
        <p:nvSpPr>
          <p:cNvPr id="65" name="Text Placeholder 20">
            <a:extLst>
              <a:ext uri="{FF2B5EF4-FFF2-40B4-BE49-F238E27FC236}">
                <a16:creationId xmlns:a16="http://schemas.microsoft.com/office/drawing/2014/main" id="{7878DBEA-7979-481E-9B73-D30CA615B63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45277" y="4625327"/>
            <a:ext cx="2139897" cy="1569098"/>
          </a:xfrm>
        </p:spPr>
        <p:txBody>
          <a:bodyPr anchor="t">
            <a:noAutofit/>
          </a:bodyPr>
          <a:lstStyle>
            <a:lvl1pPr marL="0" indent="0" algn="ctr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Insert Text Here</a:t>
            </a:r>
            <a:endParaRPr lang="en-GB" dirty="0"/>
          </a:p>
        </p:txBody>
      </p:sp>
      <p:sp>
        <p:nvSpPr>
          <p:cNvPr id="66" name="Text Placeholder 20">
            <a:extLst>
              <a:ext uri="{FF2B5EF4-FFF2-40B4-BE49-F238E27FC236}">
                <a16:creationId xmlns:a16="http://schemas.microsoft.com/office/drawing/2014/main" id="{2D2456DD-4B4A-46C1-A8F5-E7995E98609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531405" y="4625327"/>
            <a:ext cx="2139897" cy="1569098"/>
          </a:xfrm>
        </p:spPr>
        <p:txBody>
          <a:bodyPr anchor="t">
            <a:noAutofit/>
          </a:bodyPr>
          <a:lstStyle>
            <a:lvl1pPr marL="0" indent="0" algn="ctr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Insert Text Here</a:t>
            </a: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535CF23-A26D-4C47-AD71-9D9EE3B46B5A}"/>
              </a:ext>
            </a:extLst>
          </p:cNvPr>
          <p:cNvCxnSpPr>
            <a:cxnSpLocks/>
            <a:endCxn id="22" idx="0"/>
          </p:cNvCxnSpPr>
          <p:nvPr userDrawn="1"/>
        </p:nvCxnSpPr>
        <p:spPr>
          <a:xfrm flipH="1">
            <a:off x="1590649" y="4043499"/>
            <a:ext cx="0" cy="58182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B77DF217-1963-4708-B85C-BA7DF0EAB5B2}"/>
              </a:ext>
            </a:extLst>
          </p:cNvPr>
          <p:cNvCxnSpPr>
            <a:cxnSpLocks/>
          </p:cNvCxnSpPr>
          <p:nvPr userDrawn="1"/>
        </p:nvCxnSpPr>
        <p:spPr>
          <a:xfrm flipH="1">
            <a:off x="3832173" y="4043499"/>
            <a:ext cx="0" cy="58182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9D55F1E5-BAEB-4FB2-8348-E3FE03A143B3}"/>
              </a:ext>
            </a:extLst>
          </p:cNvPr>
          <p:cNvCxnSpPr>
            <a:cxnSpLocks/>
          </p:cNvCxnSpPr>
          <p:nvPr userDrawn="1"/>
        </p:nvCxnSpPr>
        <p:spPr>
          <a:xfrm flipH="1">
            <a:off x="6073699" y="4043499"/>
            <a:ext cx="0" cy="58182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482E0D59-139E-4EB9-9B08-B004BCD376D2}"/>
              </a:ext>
            </a:extLst>
          </p:cNvPr>
          <p:cNvCxnSpPr>
            <a:cxnSpLocks/>
          </p:cNvCxnSpPr>
          <p:nvPr userDrawn="1"/>
        </p:nvCxnSpPr>
        <p:spPr>
          <a:xfrm flipH="1">
            <a:off x="8315224" y="4043499"/>
            <a:ext cx="0" cy="58182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D17CC174-37AA-4FA5-B57F-C710AADE5B29}"/>
              </a:ext>
            </a:extLst>
          </p:cNvPr>
          <p:cNvCxnSpPr>
            <a:cxnSpLocks/>
          </p:cNvCxnSpPr>
          <p:nvPr userDrawn="1"/>
        </p:nvCxnSpPr>
        <p:spPr>
          <a:xfrm flipH="1">
            <a:off x="10601351" y="4043499"/>
            <a:ext cx="0" cy="58182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937492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ct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92198-5E08-49A5-999A-3A441B9AC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A00F4FD-709E-451C-ADB6-04EFB379E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700" y="365127"/>
            <a:ext cx="11150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Parallelogram 1">
            <a:extLst>
              <a:ext uri="{FF2B5EF4-FFF2-40B4-BE49-F238E27FC236}">
                <a16:creationId xmlns:a16="http://schemas.microsoft.com/office/drawing/2014/main" id="{54692DDE-8E18-4393-BAA0-EEAF401094A3}"/>
              </a:ext>
            </a:extLst>
          </p:cNvPr>
          <p:cNvSpPr/>
          <p:nvPr userDrawn="1"/>
        </p:nvSpPr>
        <p:spPr>
          <a:xfrm>
            <a:off x="482195" y="1874520"/>
            <a:ext cx="1290864" cy="360680"/>
          </a:xfrm>
          <a:prstGeom prst="parallelogram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 sz="1800" dirty="0"/>
          </a:p>
        </p:txBody>
      </p:sp>
      <p:sp>
        <p:nvSpPr>
          <p:cNvPr id="34" name="Parallelogram 33">
            <a:extLst>
              <a:ext uri="{FF2B5EF4-FFF2-40B4-BE49-F238E27FC236}">
                <a16:creationId xmlns:a16="http://schemas.microsoft.com/office/drawing/2014/main" id="{428C0528-C3D0-4014-9B8E-4B2177F3290F}"/>
              </a:ext>
            </a:extLst>
          </p:cNvPr>
          <p:cNvSpPr/>
          <p:nvPr userDrawn="1"/>
        </p:nvSpPr>
        <p:spPr>
          <a:xfrm>
            <a:off x="1724288" y="1874520"/>
            <a:ext cx="1290864" cy="360680"/>
          </a:xfrm>
          <a:prstGeom prst="parallelogram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 sz="1800"/>
          </a:p>
        </p:txBody>
      </p:sp>
      <p:sp>
        <p:nvSpPr>
          <p:cNvPr id="35" name="Parallelogram 34">
            <a:extLst>
              <a:ext uri="{FF2B5EF4-FFF2-40B4-BE49-F238E27FC236}">
                <a16:creationId xmlns:a16="http://schemas.microsoft.com/office/drawing/2014/main" id="{ADD4E0DD-C593-47CC-9335-430F6B5E6C65}"/>
              </a:ext>
            </a:extLst>
          </p:cNvPr>
          <p:cNvSpPr/>
          <p:nvPr userDrawn="1"/>
        </p:nvSpPr>
        <p:spPr>
          <a:xfrm>
            <a:off x="2966383" y="1874520"/>
            <a:ext cx="1290864" cy="360680"/>
          </a:xfrm>
          <a:prstGeom prst="parallelogram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 sz="1800"/>
          </a:p>
        </p:txBody>
      </p:sp>
      <p:sp>
        <p:nvSpPr>
          <p:cNvPr id="38" name="Parallelogram 37">
            <a:extLst>
              <a:ext uri="{FF2B5EF4-FFF2-40B4-BE49-F238E27FC236}">
                <a16:creationId xmlns:a16="http://schemas.microsoft.com/office/drawing/2014/main" id="{7A87CE15-89C2-4758-A6EB-DBB50A2B133B}"/>
              </a:ext>
            </a:extLst>
          </p:cNvPr>
          <p:cNvSpPr/>
          <p:nvPr userDrawn="1"/>
        </p:nvSpPr>
        <p:spPr>
          <a:xfrm>
            <a:off x="4208476" y="1874520"/>
            <a:ext cx="1290864" cy="360680"/>
          </a:xfrm>
          <a:prstGeom prst="parallelogram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 sz="1800"/>
          </a:p>
        </p:txBody>
      </p:sp>
      <p:sp>
        <p:nvSpPr>
          <p:cNvPr id="40" name="Parallelogram 39">
            <a:extLst>
              <a:ext uri="{FF2B5EF4-FFF2-40B4-BE49-F238E27FC236}">
                <a16:creationId xmlns:a16="http://schemas.microsoft.com/office/drawing/2014/main" id="{47536C97-010F-4905-B90F-F3297AEF464F}"/>
              </a:ext>
            </a:extLst>
          </p:cNvPr>
          <p:cNvSpPr/>
          <p:nvPr userDrawn="1"/>
        </p:nvSpPr>
        <p:spPr>
          <a:xfrm>
            <a:off x="5450571" y="1874520"/>
            <a:ext cx="1290864" cy="360680"/>
          </a:xfrm>
          <a:prstGeom prst="parallelogram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 sz="1800"/>
          </a:p>
        </p:txBody>
      </p:sp>
      <p:sp>
        <p:nvSpPr>
          <p:cNvPr id="42" name="Parallelogram 41">
            <a:extLst>
              <a:ext uri="{FF2B5EF4-FFF2-40B4-BE49-F238E27FC236}">
                <a16:creationId xmlns:a16="http://schemas.microsoft.com/office/drawing/2014/main" id="{0BFAD1D6-B09A-40D8-AAAD-AB6D68EA9F4A}"/>
              </a:ext>
            </a:extLst>
          </p:cNvPr>
          <p:cNvSpPr/>
          <p:nvPr userDrawn="1"/>
        </p:nvSpPr>
        <p:spPr>
          <a:xfrm>
            <a:off x="6692664" y="1874520"/>
            <a:ext cx="1290864" cy="360680"/>
          </a:xfrm>
          <a:prstGeom prst="parallelogram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 sz="1800"/>
          </a:p>
        </p:txBody>
      </p:sp>
      <p:sp>
        <p:nvSpPr>
          <p:cNvPr id="43" name="Parallelogram 42">
            <a:extLst>
              <a:ext uri="{FF2B5EF4-FFF2-40B4-BE49-F238E27FC236}">
                <a16:creationId xmlns:a16="http://schemas.microsoft.com/office/drawing/2014/main" id="{A07A4C47-E0A6-4585-83AA-690D8B9D4973}"/>
              </a:ext>
            </a:extLst>
          </p:cNvPr>
          <p:cNvSpPr/>
          <p:nvPr userDrawn="1"/>
        </p:nvSpPr>
        <p:spPr>
          <a:xfrm>
            <a:off x="7934759" y="1874520"/>
            <a:ext cx="1290864" cy="360680"/>
          </a:xfrm>
          <a:prstGeom prst="parallelogram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 sz="1800"/>
          </a:p>
        </p:txBody>
      </p:sp>
      <p:sp>
        <p:nvSpPr>
          <p:cNvPr id="44" name="Parallelogram 43">
            <a:extLst>
              <a:ext uri="{FF2B5EF4-FFF2-40B4-BE49-F238E27FC236}">
                <a16:creationId xmlns:a16="http://schemas.microsoft.com/office/drawing/2014/main" id="{E8A95459-78A4-4D93-B6BF-FE8DE7321626}"/>
              </a:ext>
            </a:extLst>
          </p:cNvPr>
          <p:cNvSpPr/>
          <p:nvPr userDrawn="1"/>
        </p:nvSpPr>
        <p:spPr>
          <a:xfrm>
            <a:off x="9176852" y="1874520"/>
            <a:ext cx="1290864" cy="360680"/>
          </a:xfrm>
          <a:prstGeom prst="parallelogram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 sz="1800"/>
          </a:p>
        </p:txBody>
      </p:sp>
      <p:sp>
        <p:nvSpPr>
          <p:cNvPr id="80" name="Parallelogram 79">
            <a:extLst>
              <a:ext uri="{FF2B5EF4-FFF2-40B4-BE49-F238E27FC236}">
                <a16:creationId xmlns:a16="http://schemas.microsoft.com/office/drawing/2014/main" id="{73D0C8F0-5E5B-45B0-87E0-652B0F6AFA6F}"/>
              </a:ext>
            </a:extLst>
          </p:cNvPr>
          <p:cNvSpPr/>
          <p:nvPr userDrawn="1"/>
        </p:nvSpPr>
        <p:spPr>
          <a:xfrm>
            <a:off x="10418947" y="1874520"/>
            <a:ext cx="1290864" cy="360680"/>
          </a:xfrm>
          <a:prstGeom prst="parallelogram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 sz="1800"/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052B8FFD-4438-40D0-A9C6-C55C2B3D9FAB}"/>
              </a:ext>
            </a:extLst>
          </p:cNvPr>
          <p:cNvSpPr/>
          <p:nvPr userDrawn="1"/>
        </p:nvSpPr>
        <p:spPr>
          <a:xfrm>
            <a:off x="1" y="1874520"/>
            <a:ext cx="530964" cy="360680"/>
          </a:xfrm>
          <a:custGeom>
            <a:avLst/>
            <a:gdLst>
              <a:gd name="connsiteX0" fmla="*/ 0 w 530964"/>
              <a:gd name="connsiteY0" fmla="*/ 0 h 360680"/>
              <a:gd name="connsiteX1" fmla="*/ 530964 w 530964"/>
              <a:gd name="connsiteY1" fmla="*/ 0 h 360680"/>
              <a:gd name="connsiteX2" fmla="*/ 440794 w 530964"/>
              <a:gd name="connsiteY2" fmla="*/ 360680 h 360680"/>
              <a:gd name="connsiteX3" fmla="*/ 0 w 530964"/>
              <a:gd name="connsiteY3" fmla="*/ 360680 h 360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0964" h="360680">
                <a:moveTo>
                  <a:pt x="0" y="0"/>
                </a:moveTo>
                <a:lnTo>
                  <a:pt x="530964" y="0"/>
                </a:lnTo>
                <a:lnTo>
                  <a:pt x="440794" y="360680"/>
                </a:lnTo>
                <a:lnTo>
                  <a:pt x="0" y="36068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 sz="1800"/>
          </a:p>
        </p:txBody>
      </p:sp>
      <p:sp>
        <p:nvSpPr>
          <p:cNvPr id="53" name="Freeform: Shape 52">
            <a:extLst>
              <a:ext uri="{FF2B5EF4-FFF2-40B4-BE49-F238E27FC236}">
                <a16:creationId xmlns:a16="http://schemas.microsoft.com/office/drawing/2014/main" id="{F9F8236E-F46A-4EC3-B302-7A01BC6DEEC2}"/>
              </a:ext>
            </a:extLst>
          </p:cNvPr>
          <p:cNvSpPr/>
          <p:nvPr userDrawn="1"/>
        </p:nvSpPr>
        <p:spPr>
          <a:xfrm>
            <a:off x="11661037" y="1874520"/>
            <a:ext cx="530963" cy="360680"/>
          </a:xfrm>
          <a:custGeom>
            <a:avLst/>
            <a:gdLst>
              <a:gd name="connsiteX0" fmla="*/ 90170 w 530963"/>
              <a:gd name="connsiteY0" fmla="*/ 0 h 360680"/>
              <a:gd name="connsiteX1" fmla="*/ 530963 w 530963"/>
              <a:gd name="connsiteY1" fmla="*/ 0 h 360680"/>
              <a:gd name="connsiteX2" fmla="*/ 530963 w 530963"/>
              <a:gd name="connsiteY2" fmla="*/ 360680 h 360680"/>
              <a:gd name="connsiteX3" fmla="*/ 0 w 530963"/>
              <a:gd name="connsiteY3" fmla="*/ 360680 h 360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0963" h="360680">
                <a:moveTo>
                  <a:pt x="90170" y="0"/>
                </a:moveTo>
                <a:lnTo>
                  <a:pt x="530963" y="0"/>
                </a:lnTo>
                <a:lnTo>
                  <a:pt x="530963" y="360680"/>
                </a:lnTo>
                <a:lnTo>
                  <a:pt x="0" y="36068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0ACF041-8494-472F-B72E-6257600A9D0D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83928" y="1874520"/>
            <a:ext cx="1087392" cy="360680"/>
          </a:xfrm>
          <a:noFill/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Text</a:t>
            </a:r>
            <a:endParaRPr lang="en-GB" dirty="0"/>
          </a:p>
        </p:txBody>
      </p:sp>
      <p:sp>
        <p:nvSpPr>
          <p:cNvPr id="55" name="Text Placeholder 11">
            <a:extLst>
              <a:ext uri="{FF2B5EF4-FFF2-40B4-BE49-F238E27FC236}">
                <a16:creationId xmlns:a16="http://schemas.microsoft.com/office/drawing/2014/main" id="{4BF6A3EE-871A-404A-A6F0-1DE208BCC80B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1825652" y="1874520"/>
            <a:ext cx="1088136" cy="360680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Text</a:t>
            </a:r>
            <a:endParaRPr lang="en-GB" dirty="0"/>
          </a:p>
        </p:txBody>
      </p:sp>
      <p:sp>
        <p:nvSpPr>
          <p:cNvPr id="71" name="Text Placeholder 11">
            <a:extLst>
              <a:ext uri="{FF2B5EF4-FFF2-40B4-BE49-F238E27FC236}">
                <a16:creationId xmlns:a16="http://schemas.microsoft.com/office/drawing/2014/main" id="{FADA030C-FE02-4C1D-8418-5589CC9891C9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3067747" y="1874520"/>
            <a:ext cx="1088136" cy="360680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Text</a:t>
            </a:r>
            <a:endParaRPr lang="en-GB" dirty="0"/>
          </a:p>
        </p:txBody>
      </p:sp>
      <p:sp>
        <p:nvSpPr>
          <p:cNvPr id="73" name="Text Placeholder 11">
            <a:extLst>
              <a:ext uri="{FF2B5EF4-FFF2-40B4-BE49-F238E27FC236}">
                <a16:creationId xmlns:a16="http://schemas.microsoft.com/office/drawing/2014/main" id="{89ED5C88-D75D-494B-B399-50FA6FAD19D4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4309840" y="1874520"/>
            <a:ext cx="1088136" cy="360680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Text</a:t>
            </a:r>
            <a:endParaRPr lang="en-GB" dirty="0"/>
          </a:p>
        </p:txBody>
      </p:sp>
      <p:sp>
        <p:nvSpPr>
          <p:cNvPr id="74" name="Text Placeholder 11">
            <a:extLst>
              <a:ext uri="{FF2B5EF4-FFF2-40B4-BE49-F238E27FC236}">
                <a16:creationId xmlns:a16="http://schemas.microsoft.com/office/drawing/2014/main" id="{B1F59F6D-A456-4FB3-AF7C-6EEF30B07580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5551935" y="1874520"/>
            <a:ext cx="1088136" cy="360680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Text</a:t>
            </a:r>
            <a:endParaRPr lang="en-GB" dirty="0"/>
          </a:p>
        </p:txBody>
      </p:sp>
      <p:sp>
        <p:nvSpPr>
          <p:cNvPr id="75" name="Text Placeholder 11">
            <a:extLst>
              <a:ext uri="{FF2B5EF4-FFF2-40B4-BE49-F238E27FC236}">
                <a16:creationId xmlns:a16="http://schemas.microsoft.com/office/drawing/2014/main" id="{D3368D37-0BE1-4151-84D7-7E90FE4FA7F9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94028" y="1874520"/>
            <a:ext cx="1088136" cy="360680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Text</a:t>
            </a:r>
            <a:endParaRPr lang="en-GB" dirty="0"/>
          </a:p>
        </p:txBody>
      </p:sp>
      <p:sp>
        <p:nvSpPr>
          <p:cNvPr id="76" name="Text Placeholder 11">
            <a:extLst>
              <a:ext uri="{FF2B5EF4-FFF2-40B4-BE49-F238E27FC236}">
                <a16:creationId xmlns:a16="http://schemas.microsoft.com/office/drawing/2014/main" id="{DC8CE767-0D4B-477D-8748-DAB458F64A14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8036123" y="1874520"/>
            <a:ext cx="1088136" cy="360680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Text</a:t>
            </a:r>
            <a:endParaRPr lang="en-GB" dirty="0"/>
          </a:p>
        </p:txBody>
      </p:sp>
      <p:sp>
        <p:nvSpPr>
          <p:cNvPr id="77" name="Text Placeholder 11">
            <a:extLst>
              <a:ext uri="{FF2B5EF4-FFF2-40B4-BE49-F238E27FC236}">
                <a16:creationId xmlns:a16="http://schemas.microsoft.com/office/drawing/2014/main" id="{4550DA06-2D1B-40D3-9AC0-5C6B7AE2F8DA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9278216" y="1874520"/>
            <a:ext cx="1088136" cy="360680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Text</a:t>
            </a:r>
            <a:endParaRPr lang="en-GB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D4D64A8-C48C-4BA2-B4EB-EC1395CFBFAF}"/>
              </a:ext>
            </a:extLst>
          </p:cNvPr>
          <p:cNvCxnSpPr/>
          <p:nvPr userDrawn="1"/>
        </p:nvCxnSpPr>
        <p:spPr>
          <a:xfrm>
            <a:off x="0" y="2664459"/>
            <a:ext cx="12192000" cy="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 Placeholder 11">
            <a:extLst>
              <a:ext uri="{FF2B5EF4-FFF2-40B4-BE49-F238E27FC236}">
                <a16:creationId xmlns:a16="http://schemas.microsoft.com/office/drawing/2014/main" id="{9B6B2DA0-674F-4876-B749-F9F6654ED6C9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5851735" y="2556737"/>
            <a:ext cx="488532" cy="215444"/>
          </a:xfrm>
          <a:solidFill>
            <a:schemeClr val="bg1"/>
          </a:solidFill>
        </p:spPr>
        <p:txBody>
          <a:bodyPr wrap="none" lIns="91440" tIns="0" rIns="91440" bIns="0" anchor="ctr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Text</a:t>
            </a:r>
            <a:endParaRPr lang="en-GB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D7FCE76-C532-422B-BADD-28E6B9AE27D2}"/>
              </a:ext>
            </a:extLst>
          </p:cNvPr>
          <p:cNvSpPr/>
          <p:nvPr userDrawn="1"/>
        </p:nvSpPr>
        <p:spPr>
          <a:xfrm>
            <a:off x="0" y="5829301"/>
            <a:ext cx="12192000" cy="3651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79" name="Text Placeholder 11">
            <a:extLst>
              <a:ext uri="{FF2B5EF4-FFF2-40B4-BE49-F238E27FC236}">
                <a16:creationId xmlns:a16="http://schemas.microsoft.com/office/drawing/2014/main" id="{0AF3194A-0091-47FE-B115-D8E43159866B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518041" y="5831521"/>
            <a:ext cx="11153260" cy="360680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Text</a:t>
            </a:r>
            <a:endParaRPr lang="en-GB" dirty="0"/>
          </a:p>
        </p:txBody>
      </p:sp>
      <p:sp>
        <p:nvSpPr>
          <p:cNvPr id="81" name="Text Placeholder 11">
            <a:extLst>
              <a:ext uri="{FF2B5EF4-FFF2-40B4-BE49-F238E27FC236}">
                <a16:creationId xmlns:a16="http://schemas.microsoft.com/office/drawing/2014/main" id="{3E4FB6FC-3D8B-482F-B69D-5BA27682D16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520311" y="1874520"/>
            <a:ext cx="1088136" cy="360680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76208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a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92198-5E08-49A5-999A-3A441B9AC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A00F4FD-709E-451C-ADB6-04EFB379E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700" y="365127"/>
            <a:ext cx="11150600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0ACF041-8494-472F-B72E-6257600A9D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0700" y="2270326"/>
            <a:ext cx="2651760" cy="360680"/>
          </a:xfr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Text</a:t>
            </a:r>
            <a:endParaRPr lang="en-GB" dirty="0"/>
          </a:p>
        </p:txBody>
      </p:sp>
      <p:sp>
        <p:nvSpPr>
          <p:cNvPr id="55" name="Text Placeholder 11">
            <a:extLst>
              <a:ext uri="{FF2B5EF4-FFF2-40B4-BE49-F238E27FC236}">
                <a16:creationId xmlns:a16="http://schemas.microsoft.com/office/drawing/2014/main" id="{4BF6A3EE-871A-404A-A6F0-1DE208BCC80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3647" y="2270326"/>
            <a:ext cx="2651760" cy="360680"/>
          </a:xfrm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Text</a:t>
            </a:r>
            <a:endParaRPr lang="en-GB" dirty="0"/>
          </a:p>
        </p:txBody>
      </p:sp>
      <p:sp>
        <p:nvSpPr>
          <p:cNvPr id="71" name="Text Placeholder 11">
            <a:extLst>
              <a:ext uri="{FF2B5EF4-FFF2-40B4-BE49-F238E27FC236}">
                <a16:creationId xmlns:a16="http://schemas.microsoft.com/office/drawing/2014/main" id="{FADA030C-FE02-4C1D-8418-5589CC9891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86595" y="2270326"/>
            <a:ext cx="2651760" cy="360680"/>
          </a:xfrm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Text</a:t>
            </a:r>
            <a:endParaRPr lang="en-GB" dirty="0"/>
          </a:p>
        </p:txBody>
      </p:sp>
      <p:sp>
        <p:nvSpPr>
          <p:cNvPr id="73" name="Text Placeholder 11">
            <a:extLst>
              <a:ext uri="{FF2B5EF4-FFF2-40B4-BE49-F238E27FC236}">
                <a16:creationId xmlns:a16="http://schemas.microsoft.com/office/drawing/2014/main" id="{89ED5C88-D75D-494B-B399-50FA6FAD19D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19540" y="2270326"/>
            <a:ext cx="2651760" cy="360680"/>
          </a:xfrm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Text</a:t>
            </a:r>
            <a:endParaRPr lang="en-GB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D7FCE76-C532-422B-BADD-28E6B9AE27D2}"/>
              </a:ext>
            </a:extLst>
          </p:cNvPr>
          <p:cNvSpPr/>
          <p:nvPr userDrawn="1"/>
        </p:nvSpPr>
        <p:spPr>
          <a:xfrm>
            <a:off x="0" y="5422069"/>
            <a:ext cx="12192000" cy="3651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79" name="Text Placeholder 11">
            <a:extLst>
              <a:ext uri="{FF2B5EF4-FFF2-40B4-BE49-F238E27FC236}">
                <a16:creationId xmlns:a16="http://schemas.microsoft.com/office/drawing/2014/main" id="{0AF3194A-0091-47FE-B115-D8E43159866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041" y="5424289"/>
            <a:ext cx="11153260" cy="360680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Text</a:t>
            </a:r>
            <a:endParaRPr lang="en-GB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2F65CE9-0AA8-46E3-9C61-A205142A6B66}"/>
              </a:ext>
            </a:extLst>
          </p:cNvPr>
          <p:cNvSpPr/>
          <p:nvPr userDrawn="1"/>
        </p:nvSpPr>
        <p:spPr>
          <a:xfrm>
            <a:off x="0" y="1827244"/>
            <a:ext cx="12192000" cy="3651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B5D48AC6-4A34-4392-BB8B-0A53D8A0A6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041" y="1829464"/>
            <a:ext cx="11153260" cy="360680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Text</a:t>
            </a:r>
            <a:endParaRPr lang="en-GB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E375962-7421-4021-BF93-21883DD0AFBE}"/>
              </a:ext>
            </a:extLst>
          </p:cNvPr>
          <p:cNvCxnSpPr>
            <a:cxnSpLocks/>
          </p:cNvCxnSpPr>
          <p:nvPr userDrawn="1"/>
        </p:nvCxnSpPr>
        <p:spPr>
          <a:xfrm flipH="1">
            <a:off x="3263053" y="2270326"/>
            <a:ext cx="0" cy="36068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50BC7B37-994C-4F34-B4C9-527F7EC20F71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6001" y="2270326"/>
            <a:ext cx="0" cy="36068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0CFF737B-1B1B-4795-8DC7-391F3B183589}"/>
              </a:ext>
            </a:extLst>
          </p:cNvPr>
          <p:cNvCxnSpPr>
            <a:cxnSpLocks/>
          </p:cNvCxnSpPr>
          <p:nvPr userDrawn="1"/>
        </p:nvCxnSpPr>
        <p:spPr>
          <a:xfrm flipH="1">
            <a:off x="8928947" y="2270326"/>
            <a:ext cx="0" cy="36068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11">
            <a:extLst>
              <a:ext uri="{FF2B5EF4-FFF2-40B4-BE49-F238E27FC236}">
                <a16:creationId xmlns:a16="http://schemas.microsoft.com/office/drawing/2014/main" id="{AE791AEA-40AD-411F-8591-00BF36D5A25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0699" y="5833745"/>
            <a:ext cx="3657600" cy="360680"/>
          </a:xfr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Text</a:t>
            </a:r>
            <a:endParaRPr lang="en-GB" dirty="0"/>
          </a:p>
        </p:txBody>
      </p:sp>
      <p:sp>
        <p:nvSpPr>
          <p:cNvPr id="37" name="Text Placeholder 11">
            <a:extLst>
              <a:ext uri="{FF2B5EF4-FFF2-40B4-BE49-F238E27FC236}">
                <a16:creationId xmlns:a16="http://schemas.microsoft.com/office/drawing/2014/main" id="{3EFC4851-E58D-4481-885F-454D4A8165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67199" y="5833745"/>
            <a:ext cx="3657600" cy="360680"/>
          </a:xfrm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Text</a:t>
            </a:r>
            <a:endParaRPr lang="en-GB" dirty="0"/>
          </a:p>
        </p:txBody>
      </p:sp>
      <p:sp>
        <p:nvSpPr>
          <p:cNvPr id="39" name="Text Placeholder 11">
            <a:extLst>
              <a:ext uri="{FF2B5EF4-FFF2-40B4-BE49-F238E27FC236}">
                <a16:creationId xmlns:a16="http://schemas.microsoft.com/office/drawing/2014/main" id="{47078168-E22A-48A7-98DF-B7057442E12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013700" y="5833745"/>
            <a:ext cx="3657600" cy="360680"/>
          </a:xfrm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Text</a:t>
            </a:r>
            <a:endParaRPr lang="en-GB" dirty="0"/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3DCF50D3-C5E2-424E-B217-9CF96B84995D}"/>
              </a:ext>
            </a:extLst>
          </p:cNvPr>
          <p:cNvCxnSpPr>
            <a:cxnSpLocks/>
          </p:cNvCxnSpPr>
          <p:nvPr userDrawn="1"/>
        </p:nvCxnSpPr>
        <p:spPr>
          <a:xfrm flipH="1">
            <a:off x="4222749" y="5833745"/>
            <a:ext cx="0" cy="36068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BA75C15F-35F4-4557-AFF3-406399507C7F}"/>
              </a:ext>
            </a:extLst>
          </p:cNvPr>
          <p:cNvCxnSpPr>
            <a:cxnSpLocks/>
          </p:cNvCxnSpPr>
          <p:nvPr userDrawn="1"/>
        </p:nvCxnSpPr>
        <p:spPr>
          <a:xfrm flipH="1">
            <a:off x="7969249" y="5833745"/>
            <a:ext cx="0" cy="36068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BB546578-8DE0-49E5-A215-70BB0C4129A2}"/>
              </a:ext>
            </a:extLst>
          </p:cNvPr>
          <p:cNvCxnSpPr>
            <a:cxnSpLocks/>
          </p:cNvCxnSpPr>
          <p:nvPr userDrawn="1"/>
        </p:nvCxnSpPr>
        <p:spPr>
          <a:xfrm>
            <a:off x="0" y="2970503"/>
            <a:ext cx="12192000" cy="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 Placeholder 11">
            <a:extLst>
              <a:ext uri="{FF2B5EF4-FFF2-40B4-BE49-F238E27FC236}">
                <a16:creationId xmlns:a16="http://schemas.microsoft.com/office/drawing/2014/main" id="{D566B3A0-A6A9-4D90-B478-8D539D26EDF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20700" y="2790163"/>
            <a:ext cx="1626152" cy="36068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Text</a:t>
            </a:r>
            <a:endParaRPr lang="en-GB" dirty="0"/>
          </a:p>
        </p:txBody>
      </p:sp>
      <p:sp>
        <p:nvSpPr>
          <p:cNvPr id="49" name="Text Placeholder 11">
            <a:extLst>
              <a:ext uri="{FF2B5EF4-FFF2-40B4-BE49-F238E27FC236}">
                <a16:creationId xmlns:a16="http://schemas.microsoft.com/office/drawing/2014/main" id="{E7D11FB8-7971-437B-9EA2-4A5637C164E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425589" y="2790163"/>
            <a:ext cx="1626152" cy="36068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Text</a:t>
            </a:r>
            <a:endParaRPr lang="en-GB" dirty="0"/>
          </a:p>
        </p:txBody>
      </p:sp>
      <p:sp>
        <p:nvSpPr>
          <p:cNvPr id="50" name="Text Placeholder 11">
            <a:extLst>
              <a:ext uri="{FF2B5EF4-FFF2-40B4-BE49-F238E27FC236}">
                <a16:creationId xmlns:a16="http://schemas.microsoft.com/office/drawing/2014/main" id="{EA292649-C878-45CC-9616-C0FF6D1E371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330480" y="2790163"/>
            <a:ext cx="1626152" cy="36068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Text</a:t>
            </a:r>
            <a:endParaRPr lang="en-GB" dirty="0"/>
          </a:p>
        </p:txBody>
      </p:sp>
      <p:sp>
        <p:nvSpPr>
          <p:cNvPr id="51" name="Text Placeholder 11">
            <a:extLst>
              <a:ext uri="{FF2B5EF4-FFF2-40B4-BE49-F238E27FC236}">
                <a16:creationId xmlns:a16="http://schemas.microsoft.com/office/drawing/2014/main" id="{63EDEFD3-B7F5-4C8B-862E-BD72843F149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35371" y="2790163"/>
            <a:ext cx="1626152" cy="360680"/>
          </a:xfrm>
          <a:prstGeom prst="roundRect">
            <a:avLst>
              <a:gd name="adj" fmla="val 50000"/>
            </a:avLst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Text</a:t>
            </a:r>
            <a:endParaRPr lang="en-GB" dirty="0"/>
          </a:p>
        </p:txBody>
      </p:sp>
      <p:sp>
        <p:nvSpPr>
          <p:cNvPr id="52" name="Text Placeholder 11">
            <a:extLst>
              <a:ext uri="{FF2B5EF4-FFF2-40B4-BE49-F238E27FC236}">
                <a16:creationId xmlns:a16="http://schemas.microsoft.com/office/drawing/2014/main" id="{70B46E1D-E215-462A-B948-40BC98D9A5C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140260" y="2790163"/>
            <a:ext cx="1626152" cy="360680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Text</a:t>
            </a:r>
            <a:endParaRPr lang="en-GB" dirty="0"/>
          </a:p>
        </p:txBody>
      </p:sp>
      <p:sp>
        <p:nvSpPr>
          <p:cNvPr id="56" name="Text Placeholder 11">
            <a:extLst>
              <a:ext uri="{FF2B5EF4-FFF2-40B4-BE49-F238E27FC236}">
                <a16:creationId xmlns:a16="http://schemas.microsoft.com/office/drawing/2014/main" id="{6CF0F45F-628F-41D2-BE24-13E38FEA667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045148" y="2790163"/>
            <a:ext cx="1626152" cy="36068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Text</a:t>
            </a:r>
            <a:endParaRPr lang="en-GB" dirty="0"/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45A05FFC-CB67-4DDE-B277-82EAA05C4494}"/>
              </a:ext>
            </a:extLst>
          </p:cNvPr>
          <p:cNvCxnSpPr>
            <a:cxnSpLocks/>
          </p:cNvCxnSpPr>
          <p:nvPr userDrawn="1"/>
        </p:nvCxnSpPr>
        <p:spPr>
          <a:xfrm>
            <a:off x="2286221" y="3150845"/>
            <a:ext cx="0" cy="2106957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0F1926D0-A727-4D31-8824-A6284B1A03D8}"/>
              </a:ext>
            </a:extLst>
          </p:cNvPr>
          <p:cNvCxnSpPr>
            <a:cxnSpLocks/>
          </p:cNvCxnSpPr>
          <p:nvPr userDrawn="1"/>
        </p:nvCxnSpPr>
        <p:spPr>
          <a:xfrm>
            <a:off x="4191111" y="3150845"/>
            <a:ext cx="0" cy="2106957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C00C79E0-99CE-4048-AFDA-ECE8092FA33E}"/>
              </a:ext>
            </a:extLst>
          </p:cNvPr>
          <p:cNvCxnSpPr>
            <a:cxnSpLocks/>
          </p:cNvCxnSpPr>
          <p:nvPr userDrawn="1"/>
        </p:nvCxnSpPr>
        <p:spPr>
          <a:xfrm>
            <a:off x="6096001" y="3150845"/>
            <a:ext cx="0" cy="2106957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0619DDB3-9A57-4903-868F-D7C98470EEC5}"/>
              </a:ext>
            </a:extLst>
          </p:cNvPr>
          <p:cNvCxnSpPr>
            <a:cxnSpLocks/>
          </p:cNvCxnSpPr>
          <p:nvPr userDrawn="1"/>
        </p:nvCxnSpPr>
        <p:spPr>
          <a:xfrm>
            <a:off x="8000891" y="3150845"/>
            <a:ext cx="0" cy="2106957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6178D462-B5D3-4695-AAF1-8556BCD25D16}"/>
              </a:ext>
            </a:extLst>
          </p:cNvPr>
          <p:cNvCxnSpPr>
            <a:cxnSpLocks/>
          </p:cNvCxnSpPr>
          <p:nvPr userDrawn="1"/>
        </p:nvCxnSpPr>
        <p:spPr>
          <a:xfrm>
            <a:off x="9905780" y="3150845"/>
            <a:ext cx="0" cy="2106957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38FDEF4-043D-41E9-9137-4C93C43CB8E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17526" y="3340100"/>
            <a:ext cx="1627188" cy="1917700"/>
          </a:xfrm>
        </p:spPr>
        <p:txBody>
          <a:bodyPr tIns="0" bIns="0">
            <a:noAutofit/>
          </a:bodyPr>
          <a:lstStyle>
            <a:lvl1pPr marL="115885" indent="-115885">
              <a:defRPr sz="1200"/>
            </a:lvl1pPr>
            <a:lvl2pPr marL="285744" indent="-114297">
              <a:defRPr sz="1100"/>
            </a:lvl2pPr>
            <a:lvl3pPr marL="401629" indent="-117472">
              <a:defRPr sz="1051"/>
            </a:lvl3pPr>
            <a:lvl4pPr marL="573074" indent="-112711">
              <a:defRPr sz="1000"/>
            </a:lvl4pPr>
            <a:lvl5pPr marL="742932" indent="-112711"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2" name="Text Placeholder 10">
            <a:extLst>
              <a:ext uri="{FF2B5EF4-FFF2-40B4-BE49-F238E27FC236}">
                <a16:creationId xmlns:a16="http://schemas.microsoft.com/office/drawing/2014/main" id="{14F185F6-398C-446E-BBEE-7E0A66FB4BA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424555" y="3340100"/>
            <a:ext cx="1627188" cy="1917700"/>
          </a:xfrm>
        </p:spPr>
        <p:txBody>
          <a:bodyPr tIns="0" bIns="0">
            <a:noAutofit/>
          </a:bodyPr>
          <a:lstStyle>
            <a:lvl1pPr marL="115885" indent="-115885">
              <a:defRPr sz="1200"/>
            </a:lvl1pPr>
            <a:lvl2pPr marL="285744" indent="-114297">
              <a:defRPr sz="1100"/>
            </a:lvl2pPr>
            <a:lvl3pPr marL="401629" indent="-117472">
              <a:defRPr sz="1051"/>
            </a:lvl3pPr>
            <a:lvl4pPr marL="573074" indent="-112711">
              <a:defRPr sz="1000"/>
            </a:lvl4pPr>
            <a:lvl5pPr marL="742932" indent="-112711"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3" name="Text Placeholder 10">
            <a:extLst>
              <a:ext uri="{FF2B5EF4-FFF2-40B4-BE49-F238E27FC236}">
                <a16:creationId xmlns:a16="http://schemas.microsoft.com/office/drawing/2014/main" id="{ED56AE80-3C7D-43A2-9A7D-85200B3081DD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329445" y="3340100"/>
            <a:ext cx="1627188" cy="1917700"/>
          </a:xfrm>
        </p:spPr>
        <p:txBody>
          <a:bodyPr tIns="0" bIns="0">
            <a:noAutofit/>
          </a:bodyPr>
          <a:lstStyle>
            <a:lvl1pPr marL="115885" indent="-115885">
              <a:defRPr sz="1200"/>
            </a:lvl1pPr>
            <a:lvl2pPr marL="285744" indent="-114297">
              <a:defRPr sz="1100"/>
            </a:lvl2pPr>
            <a:lvl3pPr marL="401629" indent="-117472">
              <a:defRPr sz="1051"/>
            </a:lvl3pPr>
            <a:lvl4pPr marL="573074" indent="-112711">
              <a:defRPr sz="1000"/>
            </a:lvl4pPr>
            <a:lvl5pPr marL="742932" indent="-112711"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4" name="Text Placeholder 10">
            <a:extLst>
              <a:ext uri="{FF2B5EF4-FFF2-40B4-BE49-F238E27FC236}">
                <a16:creationId xmlns:a16="http://schemas.microsoft.com/office/drawing/2014/main" id="{CBEC6DB8-8161-4D2E-8CDD-337081A298B5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234335" y="3340100"/>
            <a:ext cx="1627188" cy="1917700"/>
          </a:xfrm>
        </p:spPr>
        <p:txBody>
          <a:bodyPr tIns="0" bIns="0">
            <a:noAutofit/>
          </a:bodyPr>
          <a:lstStyle>
            <a:lvl1pPr marL="115885" indent="-115885">
              <a:defRPr sz="1200"/>
            </a:lvl1pPr>
            <a:lvl2pPr marL="285744" indent="-114297">
              <a:defRPr sz="1100"/>
            </a:lvl2pPr>
            <a:lvl3pPr marL="401629" indent="-117472">
              <a:defRPr sz="1051"/>
            </a:lvl3pPr>
            <a:lvl4pPr marL="573074" indent="-112711">
              <a:defRPr sz="1000"/>
            </a:lvl4pPr>
            <a:lvl5pPr marL="742932" indent="-112711"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5" name="Text Placeholder 10">
            <a:extLst>
              <a:ext uri="{FF2B5EF4-FFF2-40B4-BE49-F238E27FC236}">
                <a16:creationId xmlns:a16="http://schemas.microsoft.com/office/drawing/2014/main" id="{BD6F564F-58A5-405A-A76F-6928617870D8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8139225" y="3340100"/>
            <a:ext cx="1627188" cy="1917700"/>
          </a:xfrm>
        </p:spPr>
        <p:txBody>
          <a:bodyPr tIns="0" bIns="0">
            <a:noAutofit/>
          </a:bodyPr>
          <a:lstStyle>
            <a:lvl1pPr marL="115885" indent="-115885">
              <a:defRPr sz="1200"/>
            </a:lvl1pPr>
            <a:lvl2pPr marL="285744" indent="-114297">
              <a:defRPr sz="1100"/>
            </a:lvl2pPr>
            <a:lvl3pPr marL="401629" indent="-117472">
              <a:defRPr sz="1051"/>
            </a:lvl3pPr>
            <a:lvl4pPr marL="573074" indent="-112711">
              <a:defRPr sz="1000"/>
            </a:lvl4pPr>
            <a:lvl5pPr marL="742932" indent="-112711"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6" name="Text Placeholder 10">
            <a:extLst>
              <a:ext uri="{FF2B5EF4-FFF2-40B4-BE49-F238E27FC236}">
                <a16:creationId xmlns:a16="http://schemas.microsoft.com/office/drawing/2014/main" id="{86F62A9C-4A83-4663-A752-B95A698A88E4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0044113" y="3340100"/>
            <a:ext cx="1627188" cy="1917700"/>
          </a:xfrm>
        </p:spPr>
        <p:txBody>
          <a:bodyPr tIns="0" bIns="0">
            <a:noAutofit/>
          </a:bodyPr>
          <a:lstStyle>
            <a:lvl1pPr marL="115885" indent="-115885">
              <a:defRPr sz="1200"/>
            </a:lvl1pPr>
            <a:lvl2pPr marL="285744" indent="-114297">
              <a:defRPr sz="1100"/>
            </a:lvl2pPr>
            <a:lvl3pPr marL="401629" indent="-117472">
              <a:defRPr sz="1051"/>
            </a:lvl3pPr>
            <a:lvl4pPr marL="573074" indent="-112711">
              <a:defRPr sz="1000"/>
            </a:lvl4pPr>
            <a:lvl5pPr marL="742932" indent="-112711"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161118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6F9F4D2F-0DB0-45EC-9C92-972C53BA08C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47576" y="1701775"/>
            <a:ext cx="1800149" cy="1435608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GB" dirty="0"/>
          </a:p>
        </p:txBody>
      </p:sp>
      <p:sp>
        <p:nvSpPr>
          <p:cNvPr id="26" name="Picture Placeholder 24">
            <a:extLst>
              <a:ext uri="{FF2B5EF4-FFF2-40B4-BE49-F238E27FC236}">
                <a16:creationId xmlns:a16="http://schemas.microsoft.com/office/drawing/2014/main" id="{AE936245-F3C0-4A86-AADB-647161A4C18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781886" y="1701775"/>
            <a:ext cx="1800149" cy="1435608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GB"/>
          </a:p>
        </p:txBody>
      </p:sp>
      <p:sp>
        <p:nvSpPr>
          <p:cNvPr id="27" name="Picture Placeholder 24">
            <a:extLst>
              <a:ext uri="{FF2B5EF4-FFF2-40B4-BE49-F238E27FC236}">
                <a16:creationId xmlns:a16="http://schemas.microsoft.com/office/drawing/2014/main" id="{5648AE04-1998-4E1B-86AE-E25EDC82FA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613080" y="1701775"/>
            <a:ext cx="1800149" cy="1435608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GB"/>
          </a:p>
        </p:txBody>
      </p:sp>
      <p:sp>
        <p:nvSpPr>
          <p:cNvPr id="28" name="Picture Placeholder 24">
            <a:extLst>
              <a:ext uri="{FF2B5EF4-FFF2-40B4-BE49-F238E27FC236}">
                <a16:creationId xmlns:a16="http://schemas.microsoft.com/office/drawing/2014/main" id="{BFF312B1-46AA-46C7-A5D7-7B71CD37B5A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444278" y="1701775"/>
            <a:ext cx="1800149" cy="1435608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DABBA0-02C3-4CAD-BBC8-C94A1547F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92198-5E08-49A5-999A-3A441B9AC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2ED87D5-800D-4CDE-B1E5-3B3CD05FD5E3}"/>
              </a:ext>
            </a:extLst>
          </p:cNvPr>
          <p:cNvGrpSpPr/>
          <p:nvPr/>
        </p:nvGrpSpPr>
        <p:grpSpPr>
          <a:xfrm>
            <a:off x="771216" y="1602200"/>
            <a:ext cx="2155981" cy="1630582"/>
            <a:chOff x="520700" y="1690687"/>
            <a:chExt cx="2657013" cy="1865377"/>
          </a:xfrm>
        </p:grpSpPr>
        <p:sp>
          <p:nvSpPr>
            <p:cNvPr id="8" name="Rectangle 15">
              <a:extLst>
                <a:ext uri="{FF2B5EF4-FFF2-40B4-BE49-F238E27FC236}">
                  <a16:creationId xmlns:a16="http://schemas.microsoft.com/office/drawing/2014/main" id="{E0A4B861-3CCD-479F-A769-C7581BF17FC7}"/>
                </a:ext>
              </a:extLst>
            </p:cNvPr>
            <p:cNvSpPr/>
            <p:nvPr userDrawn="1"/>
          </p:nvSpPr>
          <p:spPr>
            <a:xfrm>
              <a:off x="520700" y="1690688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9" name="Rectangle 15">
              <a:extLst>
                <a:ext uri="{FF2B5EF4-FFF2-40B4-BE49-F238E27FC236}">
                  <a16:creationId xmlns:a16="http://schemas.microsoft.com/office/drawing/2014/main" id="{2E040F5E-E51C-48F0-89AF-FB0634336195}"/>
                </a:ext>
              </a:extLst>
            </p:cNvPr>
            <p:cNvSpPr/>
            <p:nvPr userDrawn="1"/>
          </p:nvSpPr>
          <p:spPr>
            <a:xfrm flipH="1">
              <a:off x="3003993" y="1690687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A2293EE-99A5-480A-BE50-9C50E3795B75}"/>
              </a:ext>
            </a:extLst>
          </p:cNvPr>
          <p:cNvGrpSpPr/>
          <p:nvPr/>
        </p:nvGrpSpPr>
        <p:grpSpPr>
          <a:xfrm>
            <a:off x="3602412" y="1602200"/>
            <a:ext cx="2155981" cy="1630582"/>
            <a:chOff x="520700" y="1690687"/>
            <a:chExt cx="2657013" cy="1865377"/>
          </a:xfrm>
        </p:grpSpPr>
        <p:sp>
          <p:nvSpPr>
            <p:cNvPr id="13" name="Rectangle 15">
              <a:extLst>
                <a:ext uri="{FF2B5EF4-FFF2-40B4-BE49-F238E27FC236}">
                  <a16:creationId xmlns:a16="http://schemas.microsoft.com/office/drawing/2014/main" id="{42809CFB-A1DA-40ED-BEEF-ED6364AB7B2A}"/>
                </a:ext>
              </a:extLst>
            </p:cNvPr>
            <p:cNvSpPr/>
            <p:nvPr userDrawn="1"/>
          </p:nvSpPr>
          <p:spPr>
            <a:xfrm>
              <a:off x="520700" y="1690688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4" name="Rectangle 15">
              <a:extLst>
                <a:ext uri="{FF2B5EF4-FFF2-40B4-BE49-F238E27FC236}">
                  <a16:creationId xmlns:a16="http://schemas.microsoft.com/office/drawing/2014/main" id="{14AE877E-70B3-46C5-A8B9-92556B7B102D}"/>
                </a:ext>
              </a:extLst>
            </p:cNvPr>
            <p:cNvSpPr/>
            <p:nvPr userDrawn="1"/>
          </p:nvSpPr>
          <p:spPr>
            <a:xfrm flipH="1">
              <a:off x="3003993" y="1690687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871D827-4F9A-4E2F-9FB5-20786D313B02}"/>
              </a:ext>
            </a:extLst>
          </p:cNvPr>
          <p:cNvGrpSpPr/>
          <p:nvPr/>
        </p:nvGrpSpPr>
        <p:grpSpPr>
          <a:xfrm>
            <a:off x="6433607" y="1602200"/>
            <a:ext cx="2155981" cy="1630582"/>
            <a:chOff x="520700" y="1690687"/>
            <a:chExt cx="2657013" cy="1865377"/>
          </a:xfrm>
        </p:grpSpPr>
        <p:sp>
          <p:nvSpPr>
            <p:cNvPr id="18" name="Rectangle 15">
              <a:extLst>
                <a:ext uri="{FF2B5EF4-FFF2-40B4-BE49-F238E27FC236}">
                  <a16:creationId xmlns:a16="http://schemas.microsoft.com/office/drawing/2014/main" id="{899B92F3-B50D-447E-A143-74B1F2309F7A}"/>
                </a:ext>
              </a:extLst>
            </p:cNvPr>
            <p:cNvSpPr/>
            <p:nvPr userDrawn="1"/>
          </p:nvSpPr>
          <p:spPr>
            <a:xfrm>
              <a:off x="520700" y="1690688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9" name="Rectangle 15">
              <a:extLst>
                <a:ext uri="{FF2B5EF4-FFF2-40B4-BE49-F238E27FC236}">
                  <a16:creationId xmlns:a16="http://schemas.microsoft.com/office/drawing/2014/main" id="{A1B448A3-F3AE-42B0-891E-DD57BD4F3737}"/>
                </a:ext>
              </a:extLst>
            </p:cNvPr>
            <p:cNvSpPr/>
            <p:nvPr userDrawn="1"/>
          </p:nvSpPr>
          <p:spPr>
            <a:xfrm flipH="1">
              <a:off x="3003993" y="1690687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246F6B0-C8C2-4835-A97C-50106DFE8AE5}"/>
              </a:ext>
            </a:extLst>
          </p:cNvPr>
          <p:cNvGrpSpPr/>
          <p:nvPr/>
        </p:nvGrpSpPr>
        <p:grpSpPr>
          <a:xfrm>
            <a:off x="9264804" y="1602200"/>
            <a:ext cx="2155981" cy="1630582"/>
            <a:chOff x="520700" y="1690687"/>
            <a:chExt cx="2657013" cy="1865377"/>
          </a:xfrm>
        </p:grpSpPr>
        <p:sp>
          <p:nvSpPr>
            <p:cNvPr id="23" name="Rectangle 15">
              <a:extLst>
                <a:ext uri="{FF2B5EF4-FFF2-40B4-BE49-F238E27FC236}">
                  <a16:creationId xmlns:a16="http://schemas.microsoft.com/office/drawing/2014/main" id="{5849724A-F06C-4F30-9A4B-C11A5A2A63B8}"/>
                </a:ext>
              </a:extLst>
            </p:cNvPr>
            <p:cNvSpPr/>
            <p:nvPr userDrawn="1"/>
          </p:nvSpPr>
          <p:spPr>
            <a:xfrm>
              <a:off x="520700" y="1690688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4" name="Rectangle 15">
              <a:extLst>
                <a:ext uri="{FF2B5EF4-FFF2-40B4-BE49-F238E27FC236}">
                  <a16:creationId xmlns:a16="http://schemas.microsoft.com/office/drawing/2014/main" id="{2F57ED01-7FB0-4F1A-8FD5-BA9000DB7011}"/>
                </a:ext>
              </a:extLst>
            </p:cNvPr>
            <p:cNvSpPr/>
            <p:nvPr userDrawn="1"/>
          </p:nvSpPr>
          <p:spPr>
            <a:xfrm flipH="1">
              <a:off x="3003993" y="1690687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</p:grp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161417F7-7F2D-41F7-B366-81B40E84E62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0699" y="3316666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Insert Name here</a:t>
            </a:r>
          </a:p>
        </p:txBody>
      </p:sp>
      <p:sp>
        <p:nvSpPr>
          <p:cNvPr id="33" name="Text Placeholder 31">
            <a:extLst>
              <a:ext uri="{FF2B5EF4-FFF2-40B4-BE49-F238E27FC236}">
                <a16:creationId xmlns:a16="http://schemas.microsoft.com/office/drawing/2014/main" id="{1BFAED8F-DA3D-4FA6-8BEE-76ACAFDFA0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1896" y="3316666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Insert Name here</a:t>
            </a:r>
          </a:p>
        </p:txBody>
      </p:sp>
      <p:sp>
        <p:nvSpPr>
          <p:cNvPr id="34" name="Text Placeholder 31">
            <a:extLst>
              <a:ext uri="{FF2B5EF4-FFF2-40B4-BE49-F238E27FC236}">
                <a16:creationId xmlns:a16="http://schemas.microsoft.com/office/drawing/2014/main" id="{339FFE38-8122-4C03-86CF-A68A617233C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83091" y="3316666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Insert Name here</a:t>
            </a:r>
          </a:p>
        </p:txBody>
      </p:sp>
      <p:sp>
        <p:nvSpPr>
          <p:cNvPr id="36" name="Text Placeholder 31">
            <a:extLst>
              <a:ext uri="{FF2B5EF4-FFF2-40B4-BE49-F238E27FC236}">
                <a16:creationId xmlns:a16="http://schemas.microsoft.com/office/drawing/2014/main" id="{DB25D3D9-0793-4B7A-809C-F3BCEB6C5F0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4288" y="3316666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Insert Name here</a:t>
            </a:r>
          </a:p>
        </p:txBody>
      </p:sp>
      <p:sp>
        <p:nvSpPr>
          <p:cNvPr id="37" name="Picture Placeholder 24">
            <a:extLst>
              <a:ext uri="{FF2B5EF4-FFF2-40B4-BE49-F238E27FC236}">
                <a16:creationId xmlns:a16="http://schemas.microsoft.com/office/drawing/2014/main" id="{59D01AD3-CF5A-4E3A-BAA9-1C4E15A3362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2344906" y="4287659"/>
            <a:ext cx="1800149" cy="1435608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GB" dirty="0"/>
          </a:p>
        </p:txBody>
      </p:sp>
      <p:sp>
        <p:nvSpPr>
          <p:cNvPr id="38" name="Picture Placeholder 24">
            <a:extLst>
              <a:ext uri="{FF2B5EF4-FFF2-40B4-BE49-F238E27FC236}">
                <a16:creationId xmlns:a16="http://schemas.microsoft.com/office/drawing/2014/main" id="{D2218851-AB69-4A3D-A5E6-8B5A1B6E2FC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179216" y="4287659"/>
            <a:ext cx="1800149" cy="1435608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GB"/>
          </a:p>
        </p:txBody>
      </p:sp>
      <p:sp>
        <p:nvSpPr>
          <p:cNvPr id="39" name="Picture Placeholder 24">
            <a:extLst>
              <a:ext uri="{FF2B5EF4-FFF2-40B4-BE49-F238E27FC236}">
                <a16:creationId xmlns:a16="http://schemas.microsoft.com/office/drawing/2014/main" id="{07ADD67E-2BCA-4467-9350-D5BD292F404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010411" y="4287659"/>
            <a:ext cx="1800149" cy="1435608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GB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9CC4A5D-E51B-4F0A-AF14-DF3F7D8ED6F5}"/>
              </a:ext>
            </a:extLst>
          </p:cNvPr>
          <p:cNvGrpSpPr/>
          <p:nvPr userDrawn="1"/>
        </p:nvGrpSpPr>
        <p:grpSpPr>
          <a:xfrm>
            <a:off x="2168547" y="4188084"/>
            <a:ext cx="2155981" cy="1630582"/>
            <a:chOff x="520700" y="1690687"/>
            <a:chExt cx="2657013" cy="1865377"/>
          </a:xfrm>
        </p:grpSpPr>
        <p:sp>
          <p:nvSpPr>
            <p:cNvPr id="41" name="Rectangle 15">
              <a:extLst>
                <a:ext uri="{FF2B5EF4-FFF2-40B4-BE49-F238E27FC236}">
                  <a16:creationId xmlns:a16="http://schemas.microsoft.com/office/drawing/2014/main" id="{8DBBE19E-9085-42FD-A20C-38055745A597}"/>
                </a:ext>
              </a:extLst>
            </p:cNvPr>
            <p:cNvSpPr/>
            <p:nvPr userDrawn="1"/>
          </p:nvSpPr>
          <p:spPr>
            <a:xfrm>
              <a:off x="520700" y="1690688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2" name="Rectangle 15">
              <a:extLst>
                <a:ext uri="{FF2B5EF4-FFF2-40B4-BE49-F238E27FC236}">
                  <a16:creationId xmlns:a16="http://schemas.microsoft.com/office/drawing/2014/main" id="{89910649-E926-4150-95CD-E41CBF06DB22}"/>
                </a:ext>
              </a:extLst>
            </p:cNvPr>
            <p:cNvSpPr/>
            <p:nvPr userDrawn="1"/>
          </p:nvSpPr>
          <p:spPr>
            <a:xfrm flipH="1">
              <a:off x="3003993" y="1690687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FE9C124D-2629-4D7A-BDC8-07D79018580D}"/>
              </a:ext>
            </a:extLst>
          </p:cNvPr>
          <p:cNvGrpSpPr/>
          <p:nvPr userDrawn="1"/>
        </p:nvGrpSpPr>
        <p:grpSpPr>
          <a:xfrm>
            <a:off x="4999742" y="4188084"/>
            <a:ext cx="2155981" cy="1630582"/>
            <a:chOff x="520700" y="1690687"/>
            <a:chExt cx="2657013" cy="1865377"/>
          </a:xfrm>
        </p:grpSpPr>
        <p:sp>
          <p:nvSpPr>
            <p:cNvPr id="44" name="Rectangle 15">
              <a:extLst>
                <a:ext uri="{FF2B5EF4-FFF2-40B4-BE49-F238E27FC236}">
                  <a16:creationId xmlns:a16="http://schemas.microsoft.com/office/drawing/2014/main" id="{F427AD74-C579-47AA-80EC-31564E4C3046}"/>
                </a:ext>
              </a:extLst>
            </p:cNvPr>
            <p:cNvSpPr/>
            <p:nvPr userDrawn="1"/>
          </p:nvSpPr>
          <p:spPr>
            <a:xfrm>
              <a:off x="520700" y="1690688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5" name="Rectangle 15">
              <a:extLst>
                <a:ext uri="{FF2B5EF4-FFF2-40B4-BE49-F238E27FC236}">
                  <a16:creationId xmlns:a16="http://schemas.microsoft.com/office/drawing/2014/main" id="{D7996EEB-67F5-4DE6-B249-F28D83B3F360}"/>
                </a:ext>
              </a:extLst>
            </p:cNvPr>
            <p:cNvSpPr/>
            <p:nvPr userDrawn="1"/>
          </p:nvSpPr>
          <p:spPr>
            <a:xfrm flipH="1">
              <a:off x="3003993" y="1690687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E6330D16-C3DF-4899-905F-ED22086E3351}"/>
              </a:ext>
            </a:extLst>
          </p:cNvPr>
          <p:cNvGrpSpPr/>
          <p:nvPr userDrawn="1"/>
        </p:nvGrpSpPr>
        <p:grpSpPr>
          <a:xfrm>
            <a:off x="7830936" y="4188084"/>
            <a:ext cx="2155981" cy="1630582"/>
            <a:chOff x="520700" y="1690687"/>
            <a:chExt cx="2657013" cy="1865377"/>
          </a:xfrm>
        </p:grpSpPr>
        <p:sp>
          <p:nvSpPr>
            <p:cNvPr id="47" name="Rectangle 15">
              <a:extLst>
                <a:ext uri="{FF2B5EF4-FFF2-40B4-BE49-F238E27FC236}">
                  <a16:creationId xmlns:a16="http://schemas.microsoft.com/office/drawing/2014/main" id="{B55D964B-14DE-4C1C-8035-83F0F2EF90B5}"/>
                </a:ext>
              </a:extLst>
            </p:cNvPr>
            <p:cNvSpPr/>
            <p:nvPr userDrawn="1"/>
          </p:nvSpPr>
          <p:spPr>
            <a:xfrm>
              <a:off x="520700" y="1690688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8" name="Rectangle 15">
              <a:extLst>
                <a:ext uri="{FF2B5EF4-FFF2-40B4-BE49-F238E27FC236}">
                  <a16:creationId xmlns:a16="http://schemas.microsoft.com/office/drawing/2014/main" id="{74820E22-A28F-4F02-94A3-58931C9B787E}"/>
                </a:ext>
              </a:extLst>
            </p:cNvPr>
            <p:cNvSpPr/>
            <p:nvPr userDrawn="1"/>
          </p:nvSpPr>
          <p:spPr>
            <a:xfrm flipH="1">
              <a:off x="3003993" y="1690687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</p:grpSp>
      <p:sp>
        <p:nvSpPr>
          <p:cNvPr id="49" name="Text Placeholder 31">
            <a:extLst>
              <a:ext uri="{FF2B5EF4-FFF2-40B4-BE49-F238E27FC236}">
                <a16:creationId xmlns:a16="http://schemas.microsoft.com/office/drawing/2014/main" id="{F0A40111-168F-4497-886A-FB51AFA39F1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918030" y="5902550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Insert Name here</a:t>
            </a:r>
          </a:p>
        </p:txBody>
      </p:sp>
      <p:sp>
        <p:nvSpPr>
          <p:cNvPr id="50" name="Text Placeholder 31">
            <a:extLst>
              <a:ext uri="{FF2B5EF4-FFF2-40B4-BE49-F238E27FC236}">
                <a16:creationId xmlns:a16="http://schemas.microsoft.com/office/drawing/2014/main" id="{7A7B9E0D-2603-4032-A23C-36F8D1FC23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49226" y="5902550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Insert Name here</a:t>
            </a:r>
          </a:p>
        </p:txBody>
      </p:sp>
      <p:sp>
        <p:nvSpPr>
          <p:cNvPr id="51" name="Text Placeholder 31">
            <a:extLst>
              <a:ext uri="{FF2B5EF4-FFF2-40B4-BE49-F238E27FC236}">
                <a16:creationId xmlns:a16="http://schemas.microsoft.com/office/drawing/2014/main" id="{4C44BDD6-182F-46E4-93FC-43941C6FCC9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580420" y="5902550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Insert Name here</a:t>
            </a:r>
          </a:p>
        </p:txBody>
      </p:sp>
      <p:sp>
        <p:nvSpPr>
          <p:cNvPr id="52" name="Text Placeholder 31">
            <a:extLst>
              <a:ext uri="{FF2B5EF4-FFF2-40B4-BE49-F238E27FC236}">
                <a16:creationId xmlns:a16="http://schemas.microsoft.com/office/drawing/2014/main" id="{146B9903-E3C6-4472-8F80-F74BCF75A4B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20699" y="3632580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Insert Designation here</a:t>
            </a:r>
          </a:p>
        </p:txBody>
      </p:sp>
      <p:sp>
        <p:nvSpPr>
          <p:cNvPr id="53" name="Text Placeholder 31">
            <a:extLst>
              <a:ext uri="{FF2B5EF4-FFF2-40B4-BE49-F238E27FC236}">
                <a16:creationId xmlns:a16="http://schemas.microsoft.com/office/drawing/2014/main" id="{8EF8F0D2-C983-41EC-98A0-2FC61FA6B3B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51896" y="3632580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Insert Designation here</a:t>
            </a:r>
          </a:p>
        </p:txBody>
      </p:sp>
      <p:sp>
        <p:nvSpPr>
          <p:cNvPr id="54" name="Text Placeholder 31">
            <a:extLst>
              <a:ext uri="{FF2B5EF4-FFF2-40B4-BE49-F238E27FC236}">
                <a16:creationId xmlns:a16="http://schemas.microsoft.com/office/drawing/2014/main" id="{00DA53C4-87E6-4E15-8B37-7FD9DF2E8C1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83091" y="3632580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Insert Designation here</a:t>
            </a:r>
          </a:p>
        </p:txBody>
      </p:sp>
      <p:sp>
        <p:nvSpPr>
          <p:cNvPr id="55" name="Text Placeholder 31">
            <a:extLst>
              <a:ext uri="{FF2B5EF4-FFF2-40B4-BE49-F238E27FC236}">
                <a16:creationId xmlns:a16="http://schemas.microsoft.com/office/drawing/2014/main" id="{D99748A6-B121-4D68-BCD6-3164577AC33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014288" y="3632580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Insert Designation here</a:t>
            </a:r>
          </a:p>
        </p:txBody>
      </p:sp>
      <p:sp>
        <p:nvSpPr>
          <p:cNvPr id="56" name="Text Placeholder 31">
            <a:extLst>
              <a:ext uri="{FF2B5EF4-FFF2-40B4-BE49-F238E27FC236}">
                <a16:creationId xmlns:a16="http://schemas.microsoft.com/office/drawing/2014/main" id="{B4EBA471-8F08-4F64-ACEE-D1DD5942606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918030" y="6218464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Insert Designation here</a:t>
            </a:r>
          </a:p>
        </p:txBody>
      </p:sp>
      <p:sp>
        <p:nvSpPr>
          <p:cNvPr id="57" name="Text Placeholder 31">
            <a:extLst>
              <a:ext uri="{FF2B5EF4-FFF2-40B4-BE49-F238E27FC236}">
                <a16:creationId xmlns:a16="http://schemas.microsoft.com/office/drawing/2014/main" id="{6403B303-FB7E-4805-8214-6B05AC1F77A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749226" y="6218464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Insert Designation here</a:t>
            </a:r>
          </a:p>
        </p:txBody>
      </p:sp>
      <p:sp>
        <p:nvSpPr>
          <p:cNvPr id="58" name="Text Placeholder 31">
            <a:extLst>
              <a:ext uri="{FF2B5EF4-FFF2-40B4-BE49-F238E27FC236}">
                <a16:creationId xmlns:a16="http://schemas.microsoft.com/office/drawing/2014/main" id="{49AAEA83-A2B2-4238-907F-0090DF30C2B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80420" y="6218464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Insert Designation here</a:t>
            </a:r>
          </a:p>
        </p:txBody>
      </p:sp>
    </p:spTree>
    <p:extLst>
      <p:ext uri="{BB962C8B-B14F-4D97-AF65-F5344CB8AC3E}">
        <p14:creationId xmlns:p14="http://schemas.microsoft.com/office/powerpoint/2010/main" val="224693089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as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D0F9F7-837D-4C35-98CF-84610A15E7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68B2F34-A5B3-4752-9107-D0000DCD20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0700" y="1819277"/>
            <a:ext cx="11150600" cy="581025"/>
          </a:xfrm>
        </p:spPr>
        <p:txBody>
          <a:bodyPr>
            <a:normAutofit/>
          </a:bodyPr>
          <a:lstStyle>
            <a:lvl1pPr marL="0" indent="0">
              <a:buNone/>
              <a:defRPr sz="2000" i="1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9" name="Rectangle 15">
            <a:extLst>
              <a:ext uri="{FF2B5EF4-FFF2-40B4-BE49-F238E27FC236}">
                <a16:creationId xmlns:a16="http://schemas.microsoft.com/office/drawing/2014/main" id="{2D865E9E-D5A1-4E50-8765-1C11BF544CBB}"/>
              </a:ext>
            </a:extLst>
          </p:cNvPr>
          <p:cNvSpPr/>
          <p:nvPr userDrawn="1"/>
        </p:nvSpPr>
        <p:spPr>
          <a:xfrm>
            <a:off x="520699" y="2710183"/>
            <a:ext cx="384808" cy="3484242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  <a:gd name="connsiteX4" fmla="*/ 0 w 914400"/>
              <a:gd name="connsiteY4" fmla="*/ 0 h 914400"/>
              <a:gd name="connsiteX0" fmla="*/ 914400 w 1005840"/>
              <a:gd name="connsiteY0" fmla="*/ 914400 h 1005840"/>
              <a:gd name="connsiteX1" fmla="*/ 0 w 1005840"/>
              <a:gd name="connsiteY1" fmla="*/ 914400 h 1005840"/>
              <a:gd name="connsiteX2" fmla="*/ 0 w 1005840"/>
              <a:gd name="connsiteY2" fmla="*/ 0 h 1005840"/>
              <a:gd name="connsiteX3" fmla="*/ 914400 w 1005840"/>
              <a:gd name="connsiteY3" fmla="*/ 0 h 1005840"/>
              <a:gd name="connsiteX4" fmla="*/ 1005840 w 1005840"/>
              <a:gd name="connsiteY4" fmla="*/ 1005840 h 1005840"/>
              <a:gd name="connsiteX0" fmla="*/ 914400 w 998220"/>
              <a:gd name="connsiteY0" fmla="*/ 914400 h 1017270"/>
              <a:gd name="connsiteX1" fmla="*/ 0 w 998220"/>
              <a:gd name="connsiteY1" fmla="*/ 914400 h 1017270"/>
              <a:gd name="connsiteX2" fmla="*/ 0 w 998220"/>
              <a:gd name="connsiteY2" fmla="*/ 0 h 1017270"/>
              <a:gd name="connsiteX3" fmla="*/ 914400 w 998220"/>
              <a:gd name="connsiteY3" fmla="*/ 0 h 1017270"/>
              <a:gd name="connsiteX4" fmla="*/ 998220 w 998220"/>
              <a:gd name="connsiteY4" fmla="*/ 1017270 h 1017270"/>
              <a:gd name="connsiteX0" fmla="*/ 914400 w 914400"/>
              <a:gd name="connsiteY0" fmla="*/ 914400 h 914400"/>
              <a:gd name="connsiteX1" fmla="*/ 0 w 914400"/>
              <a:gd name="connsiteY1" fmla="*/ 914400 h 914400"/>
              <a:gd name="connsiteX2" fmla="*/ 0 w 914400"/>
              <a:gd name="connsiteY2" fmla="*/ 0 h 914400"/>
              <a:gd name="connsiteX3" fmla="*/ 914400 w 914400"/>
              <a:gd name="connsiteY3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914400" y="914400"/>
                </a:moveTo>
                <a:lnTo>
                  <a:pt x="0" y="914400"/>
                </a:lnTo>
                <a:lnTo>
                  <a:pt x="0" y="0"/>
                </a:lnTo>
                <a:lnTo>
                  <a:pt x="914400" y="0"/>
                </a:lnTo>
              </a:path>
            </a:pathLst>
          </a:cu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 sz="1800"/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0B2788E9-0C08-457A-A04F-3C2E98810440}"/>
              </a:ext>
            </a:extLst>
          </p:cNvPr>
          <p:cNvCxnSpPr>
            <a:cxnSpLocks/>
          </p:cNvCxnSpPr>
          <p:nvPr userDrawn="1"/>
        </p:nvCxnSpPr>
        <p:spPr>
          <a:xfrm>
            <a:off x="836387" y="6194425"/>
            <a:ext cx="4688416" cy="0"/>
          </a:xfrm>
          <a:prstGeom prst="line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9" name="Rectangle 15">
            <a:extLst>
              <a:ext uri="{FF2B5EF4-FFF2-40B4-BE49-F238E27FC236}">
                <a16:creationId xmlns:a16="http://schemas.microsoft.com/office/drawing/2014/main" id="{40CDCC2A-83F3-4872-A1A5-AC8A56C0D387}"/>
              </a:ext>
            </a:extLst>
          </p:cNvPr>
          <p:cNvSpPr/>
          <p:nvPr userDrawn="1"/>
        </p:nvSpPr>
        <p:spPr>
          <a:xfrm>
            <a:off x="6662612" y="2710183"/>
            <a:ext cx="384808" cy="3484242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  <a:gd name="connsiteX4" fmla="*/ 0 w 914400"/>
              <a:gd name="connsiteY4" fmla="*/ 0 h 914400"/>
              <a:gd name="connsiteX0" fmla="*/ 914400 w 1005840"/>
              <a:gd name="connsiteY0" fmla="*/ 914400 h 1005840"/>
              <a:gd name="connsiteX1" fmla="*/ 0 w 1005840"/>
              <a:gd name="connsiteY1" fmla="*/ 914400 h 1005840"/>
              <a:gd name="connsiteX2" fmla="*/ 0 w 1005840"/>
              <a:gd name="connsiteY2" fmla="*/ 0 h 1005840"/>
              <a:gd name="connsiteX3" fmla="*/ 914400 w 1005840"/>
              <a:gd name="connsiteY3" fmla="*/ 0 h 1005840"/>
              <a:gd name="connsiteX4" fmla="*/ 1005840 w 1005840"/>
              <a:gd name="connsiteY4" fmla="*/ 1005840 h 1005840"/>
              <a:gd name="connsiteX0" fmla="*/ 914400 w 998220"/>
              <a:gd name="connsiteY0" fmla="*/ 914400 h 1017270"/>
              <a:gd name="connsiteX1" fmla="*/ 0 w 998220"/>
              <a:gd name="connsiteY1" fmla="*/ 914400 h 1017270"/>
              <a:gd name="connsiteX2" fmla="*/ 0 w 998220"/>
              <a:gd name="connsiteY2" fmla="*/ 0 h 1017270"/>
              <a:gd name="connsiteX3" fmla="*/ 914400 w 998220"/>
              <a:gd name="connsiteY3" fmla="*/ 0 h 1017270"/>
              <a:gd name="connsiteX4" fmla="*/ 998220 w 998220"/>
              <a:gd name="connsiteY4" fmla="*/ 1017270 h 1017270"/>
              <a:gd name="connsiteX0" fmla="*/ 914400 w 914400"/>
              <a:gd name="connsiteY0" fmla="*/ 914400 h 914400"/>
              <a:gd name="connsiteX1" fmla="*/ 0 w 914400"/>
              <a:gd name="connsiteY1" fmla="*/ 914400 h 914400"/>
              <a:gd name="connsiteX2" fmla="*/ 0 w 914400"/>
              <a:gd name="connsiteY2" fmla="*/ 0 h 914400"/>
              <a:gd name="connsiteX3" fmla="*/ 914400 w 914400"/>
              <a:gd name="connsiteY3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914400" y="914400"/>
                </a:moveTo>
                <a:lnTo>
                  <a:pt x="0" y="914400"/>
                </a:lnTo>
                <a:lnTo>
                  <a:pt x="0" y="0"/>
                </a:lnTo>
                <a:lnTo>
                  <a:pt x="914400" y="0"/>
                </a:lnTo>
              </a:path>
            </a:pathLst>
          </a:cu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 sz="1800"/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BFA1C4B7-3F42-483F-BC7A-4C7B0122308F}"/>
              </a:ext>
            </a:extLst>
          </p:cNvPr>
          <p:cNvCxnSpPr>
            <a:cxnSpLocks/>
          </p:cNvCxnSpPr>
          <p:nvPr userDrawn="1"/>
        </p:nvCxnSpPr>
        <p:spPr>
          <a:xfrm>
            <a:off x="6978299" y="6194425"/>
            <a:ext cx="4688416" cy="0"/>
          </a:xfrm>
          <a:prstGeom prst="line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4" name="Text Placeholder 63">
            <a:extLst>
              <a:ext uri="{FF2B5EF4-FFF2-40B4-BE49-F238E27FC236}">
                <a16:creationId xmlns:a16="http://schemas.microsoft.com/office/drawing/2014/main" id="{AC9100CE-066B-4C75-9E1A-20275EE6D6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0700" y="3162541"/>
            <a:ext cx="5003800" cy="3031884"/>
          </a:xfrm>
        </p:spPr>
        <p:txBody>
          <a:bodyPr lIns="91440" tIns="91440" rIns="91440">
            <a:normAutofit/>
          </a:bodyPr>
          <a:lstStyle>
            <a:lvl1pPr>
              <a:defRPr sz="1800"/>
            </a:lvl1pPr>
            <a:lvl2pPr marL="685783" indent="-228594">
              <a:buFont typeface="Engravers MT" panose="02090707080505020304" pitchFamily="18" charset="0"/>
              <a:buChar char="–"/>
              <a:defRPr sz="1600"/>
            </a:lvl2pPr>
            <a:lvl3pPr marL="1142971" indent="-228594">
              <a:buFont typeface="Wingdings" panose="05000000000000000000" pitchFamily="2" charset="2"/>
              <a:buChar char="§"/>
              <a:defRPr sz="1400"/>
            </a:lvl3pPr>
            <a:lvl4pPr marL="1600160" indent="-228594">
              <a:buFont typeface="Engravers MT" panose="02090707080505020304" pitchFamily="18" charset="0"/>
              <a:buChar char="–"/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5" name="Text Placeholder 63">
            <a:extLst>
              <a:ext uri="{FF2B5EF4-FFF2-40B4-BE49-F238E27FC236}">
                <a16:creationId xmlns:a16="http://schemas.microsoft.com/office/drawing/2014/main" id="{7E2E2321-FEB1-4EDE-8CEE-B011CBE9154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62612" y="3162541"/>
            <a:ext cx="5003800" cy="3031884"/>
          </a:xfrm>
        </p:spPr>
        <p:txBody>
          <a:bodyPr lIns="91440" tIns="91440" rIns="91440">
            <a:normAutofit/>
          </a:bodyPr>
          <a:lstStyle>
            <a:lvl1pPr>
              <a:defRPr sz="1800"/>
            </a:lvl1pPr>
            <a:lvl2pPr marL="685783" indent="-228594">
              <a:buFont typeface="Engravers MT" panose="02090707080505020304" pitchFamily="18" charset="0"/>
              <a:buChar char="–"/>
              <a:defRPr sz="1600"/>
            </a:lvl2pPr>
            <a:lvl3pPr marL="1142971" indent="-228594">
              <a:buFont typeface="Wingdings" panose="05000000000000000000" pitchFamily="2" charset="2"/>
              <a:buChar char="§"/>
              <a:defRPr sz="1400"/>
            </a:lvl3pPr>
            <a:lvl4pPr marL="1600160" indent="-228594">
              <a:buFont typeface="Engravers MT" panose="02090707080505020304" pitchFamily="18" charset="0"/>
              <a:buChar char="–"/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836B3FE-FAD2-479F-A97B-299D061D859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0699" y="2796781"/>
            <a:ext cx="5001767" cy="365760"/>
          </a:xfrm>
          <a:solidFill>
            <a:schemeClr val="tx2"/>
          </a:solidFill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Heading Here</a:t>
            </a:r>
            <a:endParaRPr lang="en-GB" dirty="0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CCCA8FCB-3318-40DD-A974-20D29D54EFE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64646" y="2796781"/>
            <a:ext cx="5001767" cy="365760"/>
          </a:xfrm>
          <a:solidFill>
            <a:schemeClr val="tx2"/>
          </a:solidFill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Heading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171184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F6F9DE4B-E0A5-4A88-B4BB-186887FBD3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F6F9DE4B-E0A5-4A88-B4BB-186887FBD3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F30FD5BB-76A2-4ED6-905A-7113A01B836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57" name="Text Placeholder 25">
            <a:extLst>
              <a:ext uri="{FF2B5EF4-FFF2-40B4-BE49-F238E27FC236}">
                <a16:creationId xmlns:a16="http://schemas.microsoft.com/office/drawing/2014/main" id="{8E877D32-1C8D-4ED9-9853-17CE9964CE0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90802" y="1932013"/>
            <a:ext cx="5218687" cy="66627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45720" rIns="1371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spcBef>
                <a:spcPts val="200"/>
              </a:spcBef>
              <a:buNone/>
              <a:defRPr lang="en-US" sz="2000" b="1" dirty="0" smtClean="0">
                <a:solidFill>
                  <a:schemeClr val="tx2"/>
                </a:solidFill>
              </a:defRPr>
            </a:lvl1pPr>
            <a:lvl2pPr>
              <a:defRPr lang="en-US" sz="1800" dirty="0" smtClean="0">
                <a:solidFill>
                  <a:schemeClr val="lt1"/>
                </a:solidFill>
              </a:defRPr>
            </a:lvl2pPr>
            <a:lvl3pPr>
              <a:defRPr lang="en-US" sz="1800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>
              <a:defRPr lang="en-US" dirty="0">
                <a:solidFill>
                  <a:schemeClr val="lt1"/>
                </a:solidFill>
              </a:defRPr>
            </a:lvl5pPr>
          </a:lstStyle>
          <a:p>
            <a:pPr marL="0" lvl="0"/>
            <a:r>
              <a:rPr lang="en-IN" dirty="0"/>
              <a:t>HEAD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DFC0F1-C348-4E2B-B63E-F9FE4A4B7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0F5947-3179-41F0-809E-257EE4E18D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AA44ED3E-1620-40F9-B1FD-8D35BC8FF9F3}"/>
              </a:ext>
            </a:extLst>
          </p:cNvPr>
          <p:cNvGrpSpPr/>
          <p:nvPr userDrawn="1"/>
        </p:nvGrpSpPr>
        <p:grpSpPr>
          <a:xfrm>
            <a:off x="520701" y="1852615"/>
            <a:ext cx="5358891" cy="796401"/>
            <a:chOff x="520700" y="2028080"/>
            <a:chExt cx="5358891" cy="620934"/>
          </a:xfrm>
        </p:grpSpPr>
        <p:sp>
          <p:nvSpPr>
            <p:cNvPr id="27" name="Rectangle 15">
              <a:extLst>
                <a:ext uri="{FF2B5EF4-FFF2-40B4-BE49-F238E27FC236}">
                  <a16:creationId xmlns:a16="http://schemas.microsoft.com/office/drawing/2014/main" id="{988F8592-B6BC-4ACA-B9D6-C3ACA11BE448}"/>
                </a:ext>
              </a:extLst>
            </p:cNvPr>
            <p:cNvSpPr/>
            <p:nvPr/>
          </p:nvSpPr>
          <p:spPr>
            <a:xfrm>
              <a:off x="520700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  <p:sp>
          <p:nvSpPr>
            <p:cNvPr id="35" name="Rectangle 15">
              <a:extLst>
                <a:ext uri="{FF2B5EF4-FFF2-40B4-BE49-F238E27FC236}">
                  <a16:creationId xmlns:a16="http://schemas.microsoft.com/office/drawing/2014/main" id="{AFB07A28-B1EE-4131-82CB-9A693F4A7A73}"/>
                </a:ext>
              </a:extLst>
            </p:cNvPr>
            <p:cNvSpPr/>
            <p:nvPr userDrawn="1"/>
          </p:nvSpPr>
          <p:spPr>
            <a:xfrm flipH="1">
              <a:off x="5769101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</p:grp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8E155A1-548F-4705-AFD6-554DEC324AF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20700" y="2727962"/>
            <a:ext cx="5359400" cy="3466465"/>
          </a:xfrm>
        </p:spPr>
        <p:txBody>
          <a:bodyPr>
            <a:normAutofit/>
          </a:bodyPr>
          <a:lstStyle>
            <a:lvl1pPr marL="173034" indent="-173034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1" name="Text Placeholder 5">
            <a:extLst>
              <a:ext uri="{FF2B5EF4-FFF2-40B4-BE49-F238E27FC236}">
                <a16:creationId xmlns:a16="http://schemas.microsoft.com/office/drawing/2014/main" id="{3A6ACE54-1E10-4C07-AD13-F01EF15BE5F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12156" y="2727962"/>
            <a:ext cx="5359400" cy="3466465"/>
          </a:xfrm>
        </p:spPr>
        <p:txBody>
          <a:bodyPr>
            <a:normAutofit/>
          </a:bodyPr>
          <a:lstStyle>
            <a:lvl1pPr marL="173034" indent="-173034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/>
            </a:lvl1pPr>
            <a:lvl2pPr marL="685783" indent="-228594"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685783" lvl="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–"/>
            </a:pPr>
            <a:r>
              <a:rPr lang="en-US" dirty="0"/>
              <a:t>Second level</a:t>
            </a:r>
          </a:p>
          <a:p>
            <a:pPr marL="1142971" lvl="2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</a:pPr>
            <a:r>
              <a:rPr lang="en-US" dirty="0"/>
              <a:t>Third level</a:t>
            </a:r>
          </a:p>
          <a:p>
            <a:pPr marL="1600160" lvl="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–"/>
            </a:pPr>
            <a:r>
              <a:rPr lang="en-US" dirty="0"/>
              <a:t>Fourth level</a:t>
            </a:r>
          </a:p>
          <a:p>
            <a:pPr marL="2057349" lvl="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0DC07DBC-9C67-4B8E-93BA-49DC6027A1A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82511" y="1932013"/>
            <a:ext cx="5218687" cy="66627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45720" rIns="1371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spcBef>
                <a:spcPts val="200"/>
              </a:spcBef>
              <a:buNone/>
              <a:defRPr lang="en-US" sz="2000" b="1" dirty="0" smtClean="0">
                <a:solidFill>
                  <a:schemeClr val="accent1"/>
                </a:solidFill>
              </a:defRPr>
            </a:lvl1pPr>
            <a:lvl2pPr>
              <a:defRPr lang="en-US" sz="1800" dirty="0" smtClean="0">
                <a:solidFill>
                  <a:schemeClr val="lt1"/>
                </a:solidFill>
              </a:defRPr>
            </a:lvl2pPr>
            <a:lvl3pPr>
              <a:defRPr lang="en-US" sz="1800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>
              <a:defRPr lang="en-US" dirty="0">
                <a:solidFill>
                  <a:schemeClr val="lt1"/>
                </a:solidFill>
              </a:defRPr>
            </a:lvl5pPr>
          </a:lstStyle>
          <a:p>
            <a:pPr marL="0" lvl="0"/>
            <a:r>
              <a:rPr lang="en-IN" dirty="0"/>
              <a:t>HEADING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F92DB0C-9F77-4238-B7D3-16E53DE91EF6}"/>
              </a:ext>
            </a:extLst>
          </p:cNvPr>
          <p:cNvGrpSpPr/>
          <p:nvPr userDrawn="1"/>
        </p:nvGrpSpPr>
        <p:grpSpPr>
          <a:xfrm>
            <a:off x="6312409" y="1852615"/>
            <a:ext cx="5358891" cy="796401"/>
            <a:chOff x="6312409" y="2028080"/>
            <a:chExt cx="5358891" cy="620934"/>
          </a:xfrm>
        </p:grpSpPr>
        <p:sp>
          <p:nvSpPr>
            <p:cNvPr id="44" name="Rectangle 15">
              <a:extLst>
                <a:ext uri="{FF2B5EF4-FFF2-40B4-BE49-F238E27FC236}">
                  <a16:creationId xmlns:a16="http://schemas.microsoft.com/office/drawing/2014/main" id="{A202863A-F0F4-4F9F-ABC5-01F0A85EC7CE}"/>
                </a:ext>
              </a:extLst>
            </p:cNvPr>
            <p:cNvSpPr/>
            <p:nvPr userDrawn="1"/>
          </p:nvSpPr>
          <p:spPr>
            <a:xfrm>
              <a:off x="6312409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  <p:sp>
          <p:nvSpPr>
            <p:cNvPr id="45" name="Rectangle 15">
              <a:extLst>
                <a:ext uri="{FF2B5EF4-FFF2-40B4-BE49-F238E27FC236}">
                  <a16:creationId xmlns:a16="http://schemas.microsoft.com/office/drawing/2014/main" id="{31E9A594-FDA0-4799-AA52-E6566D671DA7}"/>
                </a:ext>
              </a:extLst>
            </p:cNvPr>
            <p:cNvSpPr/>
            <p:nvPr userDrawn="1"/>
          </p:nvSpPr>
          <p:spPr>
            <a:xfrm flipH="1">
              <a:off x="11560810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</p:grp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5E936870-D418-4E1D-825D-ED7BCE686EB1}"/>
              </a:ext>
            </a:extLst>
          </p:cNvPr>
          <p:cNvCxnSpPr/>
          <p:nvPr userDrawn="1"/>
        </p:nvCxnSpPr>
        <p:spPr>
          <a:xfrm>
            <a:off x="6096001" y="2727962"/>
            <a:ext cx="0" cy="346646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24929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340A88-C09C-D688-A253-8AEF3E7B12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196AE44-8F6A-D3E5-CA8A-3DA40A8F1E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6312C-EAFF-4BED-94F5-BEE52E89B31E}" type="datetimeFigureOut">
              <a:rPr lang="en-US" smtClean="0"/>
              <a:t>2/14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DE0A7F-AEFA-236C-3991-8AFC81D3F3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BC72C6D-BEF1-8B50-1AF5-94C45EC27C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EEC150-AE8D-49EF-81A6-13FC777E18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035089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F6F9DE4B-E0A5-4A88-B4BB-186887FBD3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F6F9DE4B-E0A5-4A88-B4BB-186887FBD3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F30FD5BB-76A2-4ED6-905A-7113A01B836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0F5947-3179-41F0-809E-257EE4E18D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700" y="365127"/>
            <a:ext cx="11150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EFCEE09-B280-48F2-8022-FBB5C72FF280}"/>
              </a:ext>
            </a:extLst>
          </p:cNvPr>
          <p:cNvGrpSpPr/>
          <p:nvPr userDrawn="1"/>
        </p:nvGrpSpPr>
        <p:grpSpPr>
          <a:xfrm>
            <a:off x="520700" y="1852615"/>
            <a:ext cx="3474616" cy="796401"/>
            <a:chOff x="520700" y="2028080"/>
            <a:chExt cx="3474616" cy="620934"/>
          </a:xfrm>
        </p:grpSpPr>
        <p:sp>
          <p:nvSpPr>
            <p:cNvPr id="27" name="Rectangle 15">
              <a:extLst>
                <a:ext uri="{FF2B5EF4-FFF2-40B4-BE49-F238E27FC236}">
                  <a16:creationId xmlns:a16="http://schemas.microsoft.com/office/drawing/2014/main" id="{988F8592-B6BC-4ACA-B9D6-C3ACA11BE448}"/>
                </a:ext>
              </a:extLst>
            </p:cNvPr>
            <p:cNvSpPr/>
            <p:nvPr/>
          </p:nvSpPr>
          <p:spPr>
            <a:xfrm>
              <a:off x="520700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  <p:sp>
          <p:nvSpPr>
            <p:cNvPr id="35" name="Rectangle 15">
              <a:extLst>
                <a:ext uri="{FF2B5EF4-FFF2-40B4-BE49-F238E27FC236}">
                  <a16:creationId xmlns:a16="http://schemas.microsoft.com/office/drawing/2014/main" id="{AFB07A28-B1EE-4131-82CB-9A693F4A7A73}"/>
                </a:ext>
              </a:extLst>
            </p:cNvPr>
            <p:cNvSpPr/>
            <p:nvPr userDrawn="1"/>
          </p:nvSpPr>
          <p:spPr>
            <a:xfrm flipH="1">
              <a:off x="3884826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</p:grp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8E155A1-548F-4705-AFD6-554DEC324AF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20700" y="2727962"/>
            <a:ext cx="3474616" cy="3466465"/>
          </a:xfrm>
        </p:spPr>
        <p:txBody>
          <a:bodyPr>
            <a:normAutofit/>
          </a:bodyPr>
          <a:lstStyle>
            <a:lvl1pPr marL="231769" indent="-231769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0DC07DBC-9C67-4B8E-93BA-49DC6027A1A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425696" y="1932013"/>
            <a:ext cx="3336544" cy="66627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45720" rIns="1371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spcBef>
                <a:spcPts val="200"/>
              </a:spcBef>
              <a:buNone/>
              <a:defRPr lang="en-US" sz="2000" b="1" dirty="0" smtClean="0">
                <a:solidFill>
                  <a:schemeClr val="accent1"/>
                </a:solidFill>
              </a:defRPr>
            </a:lvl1pPr>
            <a:lvl2pPr>
              <a:defRPr lang="en-US" sz="1800" dirty="0" smtClean="0">
                <a:solidFill>
                  <a:schemeClr val="lt1"/>
                </a:solidFill>
              </a:defRPr>
            </a:lvl2pPr>
            <a:lvl3pPr>
              <a:defRPr lang="en-US" sz="1800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>
              <a:defRPr lang="en-US" dirty="0">
                <a:solidFill>
                  <a:schemeClr val="lt1"/>
                </a:solidFill>
              </a:defRPr>
            </a:lvl5pPr>
          </a:lstStyle>
          <a:p>
            <a:pPr marL="0" lvl="0"/>
            <a:r>
              <a:rPr lang="en-IN" dirty="0"/>
              <a:t>HEADING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C4345042-06D5-48F0-940C-DCEFD230324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358692" y="2727962"/>
            <a:ext cx="3474616" cy="3466465"/>
          </a:xfrm>
        </p:spPr>
        <p:txBody>
          <a:bodyPr>
            <a:normAutofit/>
          </a:bodyPr>
          <a:lstStyle>
            <a:lvl1pPr marL="231769" indent="-231769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49C7719E-2286-4052-9B8D-B8571ACCCB5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196684" y="2727962"/>
            <a:ext cx="3474616" cy="3466465"/>
          </a:xfrm>
        </p:spPr>
        <p:txBody>
          <a:bodyPr>
            <a:normAutofit/>
          </a:bodyPr>
          <a:lstStyle>
            <a:lvl1pPr marL="231769" indent="-231769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E85E3C0-1717-41D7-A16A-066D68376A3A}"/>
              </a:ext>
            </a:extLst>
          </p:cNvPr>
          <p:cNvGrpSpPr/>
          <p:nvPr userDrawn="1"/>
        </p:nvGrpSpPr>
        <p:grpSpPr>
          <a:xfrm>
            <a:off x="4358692" y="1852615"/>
            <a:ext cx="3474616" cy="796401"/>
            <a:chOff x="4358692" y="2028080"/>
            <a:chExt cx="3474616" cy="620934"/>
          </a:xfrm>
        </p:grpSpPr>
        <p:sp>
          <p:nvSpPr>
            <p:cNvPr id="44" name="Rectangle 15">
              <a:extLst>
                <a:ext uri="{FF2B5EF4-FFF2-40B4-BE49-F238E27FC236}">
                  <a16:creationId xmlns:a16="http://schemas.microsoft.com/office/drawing/2014/main" id="{A202863A-F0F4-4F9F-ABC5-01F0A85EC7CE}"/>
                </a:ext>
              </a:extLst>
            </p:cNvPr>
            <p:cNvSpPr/>
            <p:nvPr userDrawn="1"/>
          </p:nvSpPr>
          <p:spPr>
            <a:xfrm>
              <a:off x="4358692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  <p:sp>
          <p:nvSpPr>
            <p:cNvPr id="20" name="Rectangle 15">
              <a:extLst>
                <a:ext uri="{FF2B5EF4-FFF2-40B4-BE49-F238E27FC236}">
                  <a16:creationId xmlns:a16="http://schemas.microsoft.com/office/drawing/2014/main" id="{A9930259-7B9D-4AA3-A395-BB6BAA974F6F}"/>
                </a:ext>
              </a:extLst>
            </p:cNvPr>
            <p:cNvSpPr/>
            <p:nvPr userDrawn="1"/>
          </p:nvSpPr>
          <p:spPr>
            <a:xfrm flipH="1">
              <a:off x="7722818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</p:grpSp>
      <p:sp>
        <p:nvSpPr>
          <p:cNvPr id="21" name="Text Placeholder 25">
            <a:extLst>
              <a:ext uri="{FF2B5EF4-FFF2-40B4-BE49-F238E27FC236}">
                <a16:creationId xmlns:a16="http://schemas.microsoft.com/office/drawing/2014/main" id="{4FAD8C72-31BB-450A-83D4-14B1494372E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270241" y="1932013"/>
            <a:ext cx="3330959" cy="66627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45720" rIns="1371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spcBef>
                <a:spcPts val="200"/>
              </a:spcBef>
              <a:buNone/>
              <a:defRPr lang="en-US" sz="2000" b="1" dirty="0" smtClean="0">
                <a:solidFill>
                  <a:schemeClr val="accent2"/>
                </a:solidFill>
              </a:defRPr>
            </a:lvl1pPr>
            <a:lvl2pPr>
              <a:defRPr lang="en-US" sz="1800" dirty="0" smtClean="0">
                <a:solidFill>
                  <a:schemeClr val="lt1"/>
                </a:solidFill>
              </a:defRPr>
            </a:lvl2pPr>
            <a:lvl3pPr>
              <a:defRPr lang="en-US" sz="1800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>
              <a:defRPr lang="en-US" dirty="0">
                <a:solidFill>
                  <a:schemeClr val="lt1"/>
                </a:solidFill>
              </a:defRPr>
            </a:lvl5pPr>
          </a:lstStyle>
          <a:p>
            <a:pPr marL="0" lvl="0"/>
            <a:r>
              <a:rPr lang="en-IN" dirty="0"/>
              <a:t>HEADING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5D7E1CA-6BE1-4AF3-8CD2-1EE998BD6DDF}"/>
              </a:ext>
            </a:extLst>
          </p:cNvPr>
          <p:cNvGrpSpPr/>
          <p:nvPr userDrawn="1"/>
        </p:nvGrpSpPr>
        <p:grpSpPr>
          <a:xfrm>
            <a:off x="8196684" y="1852615"/>
            <a:ext cx="3474616" cy="796401"/>
            <a:chOff x="8196684" y="2028080"/>
            <a:chExt cx="3474616" cy="620934"/>
          </a:xfrm>
        </p:grpSpPr>
        <p:sp>
          <p:nvSpPr>
            <p:cNvPr id="24" name="Rectangle 15">
              <a:extLst>
                <a:ext uri="{FF2B5EF4-FFF2-40B4-BE49-F238E27FC236}">
                  <a16:creationId xmlns:a16="http://schemas.microsoft.com/office/drawing/2014/main" id="{2BE83612-2A5D-49CF-89D6-FAEEDDE8282C}"/>
                </a:ext>
              </a:extLst>
            </p:cNvPr>
            <p:cNvSpPr/>
            <p:nvPr userDrawn="1"/>
          </p:nvSpPr>
          <p:spPr>
            <a:xfrm>
              <a:off x="8196684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  <p:sp>
          <p:nvSpPr>
            <p:cNvPr id="25" name="Rectangle 15">
              <a:extLst>
                <a:ext uri="{FF2B5EF4-FFF2-40B4-BE49-F238E27FC236}">
                  <a16:creationId xmlns:a16="http://schemas.microsoft.com/office/drawing/2014/main" id="{9BC47798-5956-487A-9B55-CE5B26E50700}"/>
                </a:ext>
              </a:extLst>
            </p:cNvPr>
            <p:cNvSpPr/>
            <p:nvPr userDrawn="1"/>
          </p:nvSpPr>
          <p:spPr>
            <a:xfrm flipH="1">
              <a:off x="11560810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</p:grp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490BE49-EE85-4073-BB4B-F9A5B0A4EE04}"/>
              </a:ext>
            </a:extLst>
          </p:cNvPr>
          <p:cNvCxnSpPr>
            <a:cxnSpLocks/>
          </p:cNvCxnSpPr>
          <p:nvPr userDrawn="1"/>
        </p:nvCxnSpPr>
        <p:spPr>
          <a:xfrm>
            <a:off x="4177004" y="2727962"/>
            <a:ext cx="0" cy="346646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7F44D4CD-AC5C-494A-B91A-92DF47D0A146}"/>
              </a:ext>
            </a:extLst>
          </p:cNvPr>
          <p:cNvCxnSpPr>
            <a:cxnSpLocks/>
          </p:cNvCxnSpPr>
          <p:nvPr userDrawn="1"/>
        </p:nvCxnSpPr>
        <p:spPr>
          <a:xfrm>
            <a:off x="8014996" y="2727962"/>
            <a:ext cx="0" cy="346646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05C2D729-D205-4AD3-B457-3B008706ADC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90803" y="1932013"/>
            <a:ext cx="3335860" cy="66627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45720" rIns="1371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spcBef>
                <a:spcPts val="200"/>
              </a:spcBef>
              <a:buNone/>
              <a:defRPr lang="en-US" sz="2000" b="1" dirty="0" smtClean="0">
                <a:solidFill>
                  <a:schemeClr val="tx2"/>
                </a:solidFill>
              </a:defRPr>
            </a:lvl1pPr>
            <a:lvl2pPr>
              <a:defRPr lang="en-US" sz="1800" dirty="0" smtClean="0">
                <a:solidFill>
                  <a:schemeClr val="lt1"/>
                </a:solidFill>
              </a:defRPr>
            </a:lvl2pPr>
            <a:lvl3pPr>
              <a:defRPr lang="en-US" sz="1800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>
              <a:defRPr lang="en-US" dirty="0">
                <a:solidFill>
                  <a:schemeClr val="lt1"/>
                </a:solidFill>
              </a:defRPr>
            </a:lvl5pPr>
          </a:lstStyle>
          <a:p>
            <a:pPr marL="0" lvl="0"/>
            <a:r>
              <a:rPr lang="en-IN" dirty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350405450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F6F9DE4B-E0A5-4A88-B4BB-186887FBD3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F6F9DE4B-E0A5-4A88-B4BB-186887FBD3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F30FD5BB-76A2-4ED6-905A-7113A01B836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0F5947-3179-41F0-809E-257EE4E18D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700" y="365127"/>
            <a:ext cx="11150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6F058CEC-AFF0-443C-B251-E893B13CD9D9}"/>
              </a:ext>
            </a:extLst>
          </p:cNvPr>
          <p:cNvGrpSpPr/>
          <p:nvPr userDrawn="1"/>
        </p:nvGrpSpPr>
        <p:grpSpPr>
          <a:xfrm>
            <a:off x="520702" y="1852615"/>
            <a:ext cx="2505095" cy="796401"/>
            <a:chOff x="520700" y="2028080"/>
            <a:chExt cx="2505095" cy="620934"/>
          </a:xfrm>
        </p:grpSpPr>
        <p:sp>
          <p:nvSpPr>
            <p:cNvPr id="36" name="Rectangle 15">
              <a:extLst>
                <a:ext uri="{FF2B5EF4-FFF2-40B4-BE49-F238E27FC236}">
                  <a16:creationId xmlns:a16="http://schemas.microsoft.com/office/drawing/2014/main" id="{BD0C3CC0-C463-4A23-8DA2-03FC7700E163}"/>
                </a:ext>
              </a:extLst>
            </p:cNvPr>
            <p:cNvSpPr/>
            <p:nvPr/>
          </p:nvSpPr>
          <p:spPr>
            <a:xfrm>
              <a:off x="520700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  <p:sp>
          <p:nvSpPr>
            <p:cNvPr id="37" name="Rectangle 15">
              <a:extLst>
                <a:ext uri="{FF2B5EF4-FFF2-40B4-BE49-F238E27FC236}">
                  <a16:creationId xmlns:a16="http://schemas.microsoft.com/office/drawing/2014/main" id="{92628147-F44A-4067-B9DC-DA1F7840121F}"/>
                </a:ext>
              </a:extLst>
            </p:cNvPr>
            <p:cNvSpPr/>
            <p:nvPr userDrawn="1"/>
          </p:nvSpPr>
          <p:spPr>
            <a:xfrm flipH="1">
              <a:off x="2915305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</p:grp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3E461AF6-0198-4CEE-A53C-3075A307522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20702" y="2727962"/>
            <a:ext cx="2505095" cy="3466465"/>
          </a:xfrm>
        </p:spPr>
        <p:txBody>
          <a:bodyPr>
            <a:normAutofit/>
          </a:bodyPr>
          <a:lstStyle>
            <a:lvl1pPr marL="173034" indent="-173034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9" name="Text Placeholder 25">
            <a:extLst>
              <a:ext uri="{FF2B5EF4-FFF2-40B4-BE49-F238E27FC236}">
                <a16:creationId xmlns:a16="http://schemas.microsoft.com/office/drawing/2014/main" id="{B46E48E8-214F-4501-8F4E-061E87E7258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0935" y="1932013"/>
            <a:ext cx="2368296" cy="66627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45720" rIns="1371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spcBef>
                <a:spcPts val="200"/>
              </a:spcBef>
              <a:buNone/>
              <a:defRPr lang="en-US" sz="2000" b="1" dirty="0" smtClean="0">
                <a:solidFill>
                  <a:schemeClr val="accent1"/>
                </a:solidFill>
              </a:defRPr>
            </a:lvl1pPr>
            <a:lvl2pPr>
              <a:defRPr lang="en-US" sz="1800" dirty="0" smtClean="0">
                <a:solidFill>
                  <a:schemeClr val="lt1"/>
                </a:solidFill>
              </a:defRPr>
            </a:lvl2pPr>
            <a:lvl3pPr>
              <a:defRPr lang="en-US" sz="1800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>
              <a:defRPr lang="en-US" dirty="0">
                <a:solidFill>
                  <a:schemeClr val="lt1"/>
                </a:solidFill>
              </a:defRPr>
            </a:lvl5pPr>
          </a:lstStyle>
          <a:p>
            <a:pPr marL="0" lvl="0"/>
            <a:r>
              <a:rPr lang="en-IN" dirty="0"/>
              <a:t>HEADING</a:t>
            </a:r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8681A48D-58A1-437D-AD36-772F1BBF58D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402537" y="2727962"/>
            <a:ext cx="2505095" cy="3466465"/>
          </a:xfrm>
        </p:spPr>
        <p:txBody>
          <a:bodyPr>
            <a:normAutofit/>
          </a:bodyPr>
          <a:lstStyle>
            <a:lvl1pPr marL="173034" indent="-173034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1" name="Text Placeholder 5">
            <a:extLst>
              <a:ext uri="{FF2B5EF4-FFF2-40B4-BE49-F238E27FC236}">
                <a16:creationId xmlns:a16="http://schemas.microsoft.com/office/drawing/2014/main" id="{44C6468E-A8F1-4654-9A45-680B4704FD5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284371" y="2727962"/>
            <a:ext cx="2505095" cy="3466465"/>
          </a:xfrm>
        </p:spPr>
        <p:txBody>
          <a:bodyPr>
            <a:normAutofit/>
          </a:bodyPr>
          <a:lstStyle>
            <a:lvl1pPr marL="173034" indent="-173034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2D3A7CC4-909A-42D4-99B4-405DD6A690CE}"/>
              </a:ext>
            </a:extLst>
          </p:cNvPr>
          <p:cNvGrpSpPr/>
          <p:nvPr userDrawn="1"/>
        </p:nvGrpSpPr>
        <p:grpSpPr>
          <a:xfrm>
            <a:off x="3402537" y="1852615"/>
            <a:ext cx="2505095" cy="796401"/>
            <a:chOff x="3402535" y="2028080"/>
            <a:chExt cx="2505095" cy="620934"/>
          </a:xfrm>
        </p:grpSpPr>
        <p:sp>
          <p:nvSpPr>
            <p:cNvPr id="45" name="Rectangle 15">
              <a:extLst>
                <a:ext uri="{FF2B5EF4-FFF2-40B4-BE49-F238E27FC236}">
                  <a16:creationId xmlns:a16="http://schemas.microsoft.com/office/drawing/2014/main" id="{FE3C12D5-6A0C-4A90-AEF4-8BBEE133C7B8}"/>
                </a:ext>
              </a:extLst>
            </p:cNvPr>
            <p:cNvSpPr/>
            <p:nvPr userDrawn="1"/>
          </p:nvSpPr>
          <p:spPr>
            <a:xfrm>
              <a:off x="3402535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  <p:sp>
          <p:nvSpPr>
            <p:cNvPr id="46" name="Rectangle 15">
              <a:extLst>
                <a:ext uri="{FF2B5EF4-FFF2-40B4-BE49-F238E27FC236}">
                  <a16:creationId xmlns:a16="http://schemas.microsoft.com/office/drawing/2014/main" id="{FB411CCB-5677-49FE-868C-63060487EFF9}"/>
                </a:ext>
              </a:extLst>
            </p:cNvPr>
            <p:cNvSpPr/>
            <p:nvPr userDrawn="1"/>
          </p:nvSpPr>
          <p:spPr>
            <a:xfrm flipH="1">
              <a:off x="5797140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</p:grpSp>
      <p:sp>
        <p:nvSpPr>
          <p:cNvPr id="47" name="Text Placeholder 25">
            <a:extLst>
              <a:ext uri="{FF2B5EF4-FFF2-40B4-BE49-F238E27FC236}">
                <a16:creationId xmlns:a16="http://schemas.microsoft.com/office/drawing/2014/main" id="{31D5CD67-C094-49C6-B68F-904E99637AE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355080" y="1932013"/>
            <a:ext cx="2362200" cy="66627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45720" rIns="1371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spcBef>
                <a:spcPts val="200"/>
              </a:spcBef>
              <a:buNone/>
              <a:defRPr lang="en-US" sz="2000" b="1" dirty="0" smtClean="0">
                <a:solidFill>
                  <a:schemeClr val="accent2"/>
                </a:solidFill>
              </a:defRPr>
            </a:lvl1pPr>
            <a:lvl2pPr>
              <a:defRPr lang="en-US" sz="1800" dirty="0" smtClean="0">
                <a:solidFill>
                  <a:schemeClr val="lt1"/>
                </a:solidFill>
              </a:defRPr>
            </a:lvl2pPr>
            <a:lvl3pPr>
              <a:defRPr lang="en-US" sz="1800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>
              <a:defRPr lang="en-US" dirty="0">
                <a:solidFill>
                  <a:schemeClr val="lt1"/>
                </a:solidFill>
              </a:defRPr>
            </a:lvl5pPr>
          </a:lstStyle>
          <a:p>
            <a:pPr marL="0" lvl="0"/>
            <a:r>
              <a:rPr lang="en-IN" dirty="0"/>
              <a:t>HEADING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0F2F7AC8-FC39-4114-A75A-F5B309FADA56}"/>
              </a:ext>
            </a:extLst>
          </p:cNvPr>
          <p:cNvCxnSpPr>
            <a:cxnSpLocks/>
          </p:cNvCxnSpPr>
          <p:nvPr userDrawn="1"/>
        </p:nvCxnSpPr>
        <p:spPr>
          <a:xfrm>
            <a:off x="3214165" y="2727962"/>
            <a:ext cx="0" cy="346646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5D7B0637-8114-4053-B9A6-FCF821184128}"/>
              </a:ext>
            </a:extLst>
          </p:cNvPr>
          <p:cNvCxnSpPr>
            <a:cxnSpLocks/>
          </p:cNvCxnSpPr>
          <p:nvPr userDrawn="1"/>
        </p:nvCxnSpPr>
        <p:spPr>
          <a:xfrm>
            <a:off x="6096000" y="2727962"/>
            <a:ext cx="0" cy="346646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135D960B-E5B6-449B-9EFB-F07C1BE3CE13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166206" y="2727962"/>
            <a:ext cx="2505095" cy="3466465"/>
          </a:xfrm>
        </p:spPr>
        <p:txBody>
          <a:bodyPr>
            <a:normAutofit/>
          </a:bodyPr>
          <a:lstStyle>
            <a:lvl1pPr marL="173034" indent="-173034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85BD2113-B292-4541-BC74-19755F71C3C2}"/>
              </a:ext>
            </a:extLst>
          </p:cNvPr>
          <p:cNvGrpSpPr/>
          <p:nvPr userDrawn="1"/>
        </p:nvGrpSpPr>
        <p:grpSpPr>
          <a:xfrm>
            <a:off x="6284371" y="1852615"/>
            <a:ext cx="2505095" cy="796401"/>
            <a:chOff x="6284370" y="2028080"/>
            <a:chExt cx="2505095" cy="620934"/>
          </a:xfrm>
        </p:grpSpPr>
        <p:sp>
          <p:nvSpPr>
            <p:cNvPr id="53" name="Rectangle 15">
              <a:extLst>
                <a:ext uri="{FF2B5EF4-FFF2-40B4-BE49-F238E27FC236}">
                  <a16:creationId xmlns:a16="http://schemas.microsoft.com/office/drawing/2014/main" id="{F87936B0-B7E0-4097-B4A1-C064390EC348}"/>
                </a:ext>
              </a:extLst>
            </p:cNvPr>
            <p:cNvSpPr/>
            <p:nvPr userDrawn="1"/>
          </p:nvSpPr>
          <p:spPr>
            <a:xfrm>
              <a:off x="6284370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  <p:sp>
          <p:nvSpPr>
            <p:cNvPr id="54" name="Rectangle 15">
              <a:extLst>
                <a:ext uri="{FF2B5EF4-FFF2-40B4-BE49-F238E27FC236}">
                  <a16:creationId xmlns:a16="http://schemas.microsoft.com/office/drawing/2014/main" id="{9C358D58-0B3F-4D77-BE83-523745FEF4E6}"/>
                </a:ext>
              </a:extLst>
            </p:cNvPr>
            <p:cNvSpPr/>
            <p:nvPr userDrawn="1"/>
          </p:nvSpPr>
          <p:spPr>
            <a:xfrm flipH="1">
              <a:off x="8678975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037BA7F1-12BA-43DF-ADA8-88E8559C8AAA}"/>
              </a:ext>
            </a:extLst>
          </p:cNvPr>
          <p:cNvGrpSpPr/>
          <p:nvPr userDrawn="1"/>
        </p:nvGrpSpPr>
        <p:grpSpPr>
          <a:xfrm>
            <a:off x="9166206" y="1852615"/>
            <a:ext cx="2505095" cy="796401"/>
            <a:chOff x="9166205" y="2028080"/>
            <a:chExt cx="2505095" cy="620934"/>
          </a:xfrm>
        </p:grpSpPr>
        <p:sp>
          <p:nvSpPr>
            <p:cNvPr id="48" name="Rectangle 15">
              <a:extLst>
                <a:ext uri="{FF2B5EF4-FFF2-40B4-BE49-F238E27FC236}">
                  <a16:creationId xmlns:a16="http://schemas.microsoft.com/office/drawing/2014/main" id="{82EA8142-B1E2-439E-9328-D93B360F480B}"/>
                </a:ext>
              </a:extLst>
            </p:cNvPr>
            <p:cNvSpPr/>
            <p:nvPr userDrawn="1"/>
          </p:nvSpPr>
          <p:spPr>
            <a:xfrm flipH="1">
              <a:off x="11560810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  <p:sp>
          <p:nvSpPr>
            <p:cNvPr id="55" name="Rectangle 15">
              <a:extLst>
                <a:ext uri="{FF2B5EF4-FFF2-40B4-BE49-F238E27FC236}">
                  <a16:creationId xmlns:a16="http://schemas.microsoft.com/office/drawing/2014/main" id="{F5874F68-F3AA-41A2-9B56-67ED5186C3B8}"/>
                </a:ext>
              </a:extLst>
            </p:cNvPr>
            <p:cNvSpPr/>
            <p:nvPr userDrawn="1"/>
          </p:nvSpPr>
          <p:spPr>
            <a:xfrm>
              <a:off x="9166205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</p:grpSp>
      <p:sp>
        <p:nvSpPr>
          <p:cNvPr id="56" name="Text Placeholder 25">
            <a:extLst>
              <a:ext uri="{FF2B5EF4-FFF2-40B4-BE49-F238E27FC236}">
                <a16:creationId xmlns:a16="http://schemas.microsoft.com/office/drawing/2014/main" id="{199D7BF7-161D-49DC-B9B2-4CBC0FC1ECE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235440" y="1932013"/>
            <a:ext cx="2365757" cy="66627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45720" rIns="1371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spcBef>
                <a:spcPts val="200"/>
              </a:spcBef>
              <a:buNone/>
              <a:defRPr lang="en-US" sz="2000" b="1" dirty="0" smtClean="0">
                <a:solidFill>
                  <a:schemeClr val="tx1"/>
                </a:solidFill>
              </a:defRPr>
            </a:lvl1pPr>
            <a:lvl2pPr>
              <a:defRPr lang="en-US" sz="1800" dirty="0" smtClean="0">
                <a:solidFill>
                  <a:schemeClr val="lt1"/>
                </a:solidFill>
              </a:defRPr>
            </a:lvl2pPr>
            <a:lvl3pPr>
              <a:defRPr lang="en-US" sz="1800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>
              <a:defRPr lang="en-US" dirty="0">
                <a:solidFill>
                  <a:schemeClr val="lt1"/>
                </a:solidFill>
              </a:defRPr>
            </a:lvl5pPr>
          </a:lstStyle>
          <a:p>
            <a:pPr marL="0" lvl="0"/>
            <a:r>
              <a:rPr lang="en-IN" dirty="0"/>
              <a:t>HEADING</a:t>
            </a: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BB82116B-6733-4FBB-8DB8-D7E8C6027F54}"/>
              </a:ext>
            </a:extLst>
          </p:cNvPr>
          <p:cNvCxnSpPr>
            <a:cxnSpLocks/>
          </p:cNvCxnSpPr>
          <p:nvPr userDrawn="1"/>
        </p:nvCxnSpPr>
        <p:spPr>
          <a:xfrm>
            <a:off x="8977835" y="2727962"/>
            <a:ext cx="0" cy="346646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 Placeholder 25">
            <a:extLst>
              <a:ext uri="{FF2B5EF4-FFF2-40B4-BE49-F238E27FC236}">
                <a16:creationId xmlns:a16="http://schemas.microsoft.com/office/drawing/2014/main" id="{44C922BA-DB39-4EF8-864F-6D5584EC9AB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90803" y="1932013"/>
            <a:ext cx="2367864" cy="66627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45720" rIns="1371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spcBef>
                <a:spcPts val="200"/>
              </a:spcBef>
              <a:buNone/>
              <a:defRPr lang="en-US" sz="2000" b="1" dirty="0" smtClean="0">
                <a:solidFill>
                  <a:schemeClr val="tx2"/>
                </a:solidFill>
              </a:defRPr>
            </a:lvl1pPr>
            <a:lvl2pPr>
              <a:defRPr lang="en-US" sz="1800" dirty="0" smtClean="0">
                <a:solidFill>
                  <a:schemeClr val="lt1"/>
                </a:solidFill>
              </a:defRPr>
            </a:lvl2pPr>
            <a:lvl3pPr>
              <a:defRPr lang="en-US" sz="1800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>
              <a:defRPr lang="en-US" dirty="0">
                <a:solidFill>
                  <a:schemeClr val="lt1"/>
                </a:solidFill>
              </a:defRPr>
            </a:lvl5pPr>
          </a:lstStyle>
          <a:p>
            <a:pPr marL="0" lvl="0"/>
            <a:r>
              <a:rPr lang="en-IN" dirty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417310710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F6F9DE4B-E0A5-4A88-B4BB-186887FBD3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F6F9DE4B-E0A5-4A88-B4BB-186887FBD3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F30FD5BB-76A2-4ED6-905A-7113A01B836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0F5947-3179-41F0-809E-257EE4E18D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700" y="365127"/>
            <a:ext cx="11150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6F058CEC-AFF0-443C-B251-E893B13CD9D9}"/>
              </a:ext>
            </a:extLst>
          </p:cNvPr>
          <p:cNvGrpSpPr/>
          <p:nvPr userDrawn="1"/>
        </p:nvGrpSpPr>
        <p:grpSpPr>
          <a:xfrm>
            <a:off x="520702" y="1852615"/>
            <a:ext cx="2114433" cy="796401"/>
            <a:chOff x="520700" y="2028080"/>
            <a:chExt cx="2505095" cy="620934"/>
          </a:xfrm>
        </p:grpSpPr>
        <p:sp>
          <p:nvSpPr>
            <p:cNvPr id="36" name="Rectangle 15">
              <a:extLst>
                <a:ext uri="{FF2B5EF4-FFF2-40B4-BE49-F238E27FC236}">
                  <a16:creationId xmlns:a16="http://schemas.microsoft.com/office/drawing/2014/main" id="{BD0C3CC0-C463-4A23-8DA2-03FC7700E163}"/>
                </a:ext>
              </a:extLst>
            </p:cNvPr>
            <p:cNvSpPr/>
            <p:nvPr/>
          </p:nvSpPr>
          <p:spPr>
            <a:xfrm>
              <a:off x="520700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  <p:sp>
          <p:nvSpPr>
            <p:cNvPr id="37" name="Rectangle 15">
              <a:extLst>
                <a:ext uri="{FF2B5EF4-FFF2-40B4-BE49-F238E27FC236}">
                  <a16:creationId xmlns:a16="http://schemas.microsoft.com/office/drawing/2014/main" id="{92628147-F44A-4067-B9DC-DA1F7840121F}"/>
                </a:ext>
              </a:extLst>
            </p:cNvPr>
            <p:cNvSpPr/>
            <p:nvPr userDrawn="1"/>
          </p:nvSpPr>
          <p:spPr>
            <a:xfrm flipH="1">
              <a:off x="2915305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</p:grp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3E461AF6-0198-4CEE-A53C-3075A307522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20702" y="2727962"/>
            <a:ext cx="2114433" cy="3466465"/>
          </a:xfrm>
        </p:spPr>
        <p:txBody>
          <a:bodyPr>
            <a:normAutofit/>
          </a:bodyPr>
          <a:lstStyle>
            <a:lvl1pPr marL="173034" indent="-173034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/>
            </a:lvl1pPr>
            <a:lvl2pPr marL="365760" indent="-182880">
              <a:lnSpc>
                <a:spcPct val="100000"/>
              </a:lnSpc>
              <a:spcBef>
                <a:spcPts val="0"/>
              </a:spcBef>
              <a:defRPr sz="12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9" name="Text Placeholder 25">
            <a:extLst>
              <a:ext uri="{FF2B5EF4-FFF2-40B4-BE49-F238E27FC236}">
                <a16:creationId xmlns:a16="http://schemas.microsoft.com/office/drawing/2014/main" id="{B46E48E8-214F-4501-8F4E-061E87E7258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22308" y="1932013"/>
            <a:ext cx="1998967" cy="66627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45720" rIns="1371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spcBef>
                <a:spcPts val="200"/>
              </a:spcBef>
              <a:buNone/>
              <a:defRPr lang="en-US" sz="2000" b="1" dirty="0" smtClean="0">
                <a:solidFill>
                  <a:schemeClr val="accent1"/>
                </a:solidFill>
              </a:defRPr>
            </a:lvl1pPr>
            <a:lvl2pPr>
              <a:defRPr lang="en-US" sz="1800" dirty="0" smtClean="0">
                <a:solidFill>
                  <a:schemeClr val="lt1"/>
                </a:solidFill>
              </a:defRPr>
            </a:lvl2pPr>
            <a:lvl3pPr>
              <a:defRPr lang="en-US" sz="1800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>
              <a:defRPr lang="en-US" dirty="0">
                <a:solidFill>
                  <a:schemeClr val="lt1"/>
                </a:solidFill>
              </a:defRPr>
            </a:lvl5pPr>
          </a:lstStyle>
          <a:p>
            <a:pPr marL="0" lvl="0"/>
            <a:r>
              <a:rPr lang="en-IN" dirty="0"/>
              <a:t>HEADING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2D3A7CC4-909A-42D4-99B4-405DD6A690CE}"/>
              </a:ext>
            </a:extLst>
          </p:cNvPr>
          <p:cNvGrpSpPr/>
          <p:nvPr userDrawn="1"/>
        </p:nvGrpSpPr>
        <p:grpSpPr>
          <a:xfrm>
            <a:off x="2853910" y="1852615"/>
            <a:ext cx="2114433" cy="796401"/>
            <a:chOff x="3402535" y="2028080"/>
            <a:chExt cx="2505095" cy="620934"/>
          </a:xfrm>
        </p:grpSpPr>
        <p:sp>
          <p:nvSpPr>
            <p:cNvPr id="45" name="Rectangle 15">
              <a:extLst>
                <a:ext uri="{FF2B5EF4-FFF2-40B4-BE49-F238E27FC236}">
                  <a16:creationId xmlns:a16="http://schemas.microsoft.com/office/drawing/2014/main" id="{FE3C12D5-6A0C-4A90-AEF4-8BBEE133C7B8}"/>
                </a:ext>
              </a:extLst>
            </p:cNvPr>
            <p:cNvSpPr/>
            <p:nvPr userDrawn="1"/>
          </p:nvSpPr>
          <p:spPr>
            <a:xfrm>
              <a:off x="3402535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  <p:sp>
          <p:nvSpPr>
            <p:cNvPr id="46" name="Rectangle 15">
              <a:extLst>
                <a:ext uri="{FF2B5EF4-FFF2-40B4-BE49-F238E27FC236}">
                  <a16:creationId xmlns:a16="http://schemas.microsoft.com/office/drawing/2014/main" id="{FB411CCB-5677-49FE-868C-63060487EFF9}"/>
                </a:ext>
              </a:extLst>
            </p:cNvPr>
            <p:cNvSpPr/>
            <p:nvPr userDrawn="1"/>
          </p:nvSpPr>
          <p:spPr>
            <a:xfrm flipH="1">
              <a:off x="5797140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</p:grpSp>
      <p:sp>
        <p:nvSpPr>
          <p:cNvPr id="47" name="Text Placeholder 25">
            <a:extLst>
              <a:ext uri="{FF2B5EF4-FFF2-40B4-BE49-F238E27FC236}">
                <a16:creationId xmlns:a16="http://schemas.microsoft.com/office/drawing/2014/main" id="{31D5CD67-C094-49C6-B68F-904E99637AE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238417" y="1932013"/>
            <a:ext cx="1993822" cy="66627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45720" rIns="1371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spcBef>
                <a:spcPts val="200"/>
              </a:spcBef>
              <a:buNone/>
              <a:defRPr lang="en-US" sz="2000" b="1" dirty="0" smtClean="0">
                <a:solidFill>
                  <a:schemeClr val="accent2"/>
                </a:solidFill>
              </a:defRPr>
            </a:lvl1pPr>
            <a:lvl2pPr>
              <a:defRPr lang="en-US" sz="1800" dirty="0" smtClean="0">
                <a:solidFill>
                  <a:schemeClr val="lt1"/>
                </a:solidFill>
              </a:defRPr>
            </a:lvl2pPr>
            <a:lvl3pPr>
              <a:defRPr lang="en-US" sz="1800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>
              <a:defRPr lang="en-US" dirty="0">
                <a:solidFill>
                  <a:schemeClr val="lt1"/>
                </a:solidFill>
              </a:defRPr>
            </a:lvl5pPr>
          </a:lstStyle>
          <a:p>
            <a:pPr marL="0" lvl="0"/>
            <a:r>
              <a:rPr lang="en-IN" dirty="0"/>
              <a:t>HEADING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0F2F7AC8-FC39-4114-A75A-F5B309FADA56}"/>
              </a:ext>
            </a:extLst>
          </p:cNvPr>
          <p:cNvCxnSpPr>
            <a:cxnSpLocks/>
          </p:cNvCxnSpPr>
          <p:nvPr userDrawn="1"/>
        </p:nvCxnSpPr>
        <p:spPr>
          <a:xfrm>
            <a:off x="2740340" y="2807360"/>
            <a:ext cx="0" cy="346646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5D7B0637-8114-4053-B9A6-FCF821184128}"/>
              </a:ext>
            </a:extLst>
          </p:cNvPr>
          <p:cNvCxnSpPr>
            <a:cxnSpLocks/>
          </p:cNvCxnSpPr>
          <p:nvPr userDrawn="1"/>
        </p:nvCxnSpPr>
        <p:spPr>
          <a:xfrm>
            <a:off x="5065234" y="2727962"/>
            <a:ext cx="0" cy="346646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2" name="Group 51">
            <a:extLst>
              <a:ext uri="{FF2B5EF4-FFF2-40B4-BE49-F238E27FC236}">
                <a16:creationId xmlns:a16="http://schemas.microsoft.com/office/drawing/2014/main" id="{85BD2113-B292-4541-BC74-19755F71C3C2}"/>
              </a:ext>
            </a:extLst>
          </p:cNvPr>
          <p:cNvGrpSpPr/>
          <p:nvPr userDrawn="1"/>
        </p:nvGrpSpPr>
        <p:grpSpPr>
          <a:xfrm>
            <a:off x="5167708" y="1852615"/>
            <a:ext cx="2114433" cy="796401"/>
            <a:chOff x="6284370" y="2028080"/>
            <a:chExt cx="2505095" cy="620934"/>
          </a:xfrm>
        </p:grpSpPr>
        <p:sp>
          <p:nvSpPr>
            <p:cNvPr id="53" name="Rectangle 15">
              <a:extLst>
                <a:ext uri="{FF2B5EF4-FFF2-40B4-BE49-F238E27FC236}">
                  <a16:creationId xmlns:a16="http://schemas.microsoft.com/office/drawing/2014/main" id="{F87936B0-B7E0-4097-B4A1-C064390EC348}"/>
                </a:ext>
              </a:extLst>
            </p:cNvPr>
            <p:cNvSpPr/>
            <p:nvPr userDrawn="1"/>
          </p:nvSpPr>
          <p:spPr>
            <a:xfrm>
              <a:off x="6284370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  <p:sp>
          <p:nvSpPr>
            <p:cNvPr id="54" name="Rectangle 15">
              <a:extLst>
                <a:ext uri="{FF2B5EF4-FFF2-40B4-BE49-F238E27FC236}">
                  <a16:creationId xmlns:a16="http://schemas.microsoft.com/office/drawing/2014/main" id="{9C358D58-0B3F-4D77-BE83-523745FEF4E6}"/>
                </a:ext>
              </a:extLst>
            </p:cNvPr>
            <p:cNvSpPr/>
            <p:nvPr userDrawn="1"/>
          </p:nvSpPr>
          <p:spPr>
            <a:xfrm flipH="1">
              <a:off x="8678975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037BA7F1-12BA-43DF-ADA8-88E8559C8AAA}"/>
              </a:ext>
            </a:extLst>
          </p:cNvPr>
          <p:cNvGrpSpPr/>
          <p:nvPr userDrawn="1"/>
        </p:nvGrpSpPr>
        <p:grpSpPr>
          <a:xfrm>
            <a:off x="7464920" y="1852615"/>
            <a:ext cx="2114433" cy="796401"/>
            <a:chOff x="9166205" y="2028080"/>
            <a:chExt cx="2505095" cy="620934"/>
          </a:xfrm>
        </p:grpSpPr>
        <p:sp>
          <p:nvSpPr>
            <p:cNvPr id="48" name="Rectangle 15">
              <a:extLst>
                <a:ext uri="{FF2B5EF4-FFF2-40B4-BE49-F238E27FC236}">
                  <a16:creationId xmlns:a16="http://schemas.microsoft.com/office/drawing/2014/main" id="{82EA8142-B1E2-439E-9328-D93B360F480B}"/>
                </a:ext>
              </a:extLst>
            </p:cNvPr>
            <p:cNvSpPr/>
            <p:nvPr userDrawn="1"/>
          </p:nvSpPr>
          <p:spPr>
            <a:xfrm flipH="1">
              <a:off x="11560810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  <p:sp>
          <p:nvSpPr>
            <p:cNvPr id="55" name="Rectangle 15">
              <a:extLst>
                <a:ext uri="{FF2B5EF4-FFF2-40B4-BE49-F238E27FC236}">
                  <a16:creationId xmlns:a16="http://schemas.microsoft.com/office/drawing/2014/main" id="{F5874F68-F3AA-41A2-9B56-67ED5186C3B8}"/>
                </a:ext>
              </a:extLst>
            </p:cNvPr>
            <p:cNvSpPr/>
            <p:nvPr userDrawn="1"/>
          </p:nvSpPr>
          <p:spPr>
            <a:xfrm>
              <a:off x="9166205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</p:grpSp>
      <p:sp>
        <p:nvSpPr>
          <p:cNvPr id="56" name="Text Placeholder 25">
            <a:extLst>
              <a:ext uri="{FF2B5EF4-FFF2-40B4-BE49-F238E27FC236}">
                <a16:creationId xmlns:a16="http://schemas.microsoft.com/office/drawing/2014/main" id="{199D7BF7-161D-49DC-B9B2-4CBC0FC1ECE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534155" y="1932013"/>
            <a:ext cx="1996824" cy="66627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45720" rIns="1371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spcBef>
                <a:spcPts val="200"/>
              </a:spcBef>
              <a:buNone/>
              <a:defRPr lang="en-US" sz="2000" b="1" dirty="0" smtClean="0">
                <a:solidFill>
                  <a:schemeClr val="tx1"/>
                </a:solidFill>
              </a:defRPr>
            </a:lvl1pPr>
            <a:lvl2pPr>
              <a:defRPr lang="en-US" sz="1800" dirty="0" smtClean="0">
                <a:solidFill>
                  <a:schemeClr val="lt1"/>
                </a:solidFill>
              </a:defRPr>
            </a:lvl2pPr>
            <a:lvl3pPr>
              <a:defRPr lang="en-US" sz="1800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>
              <a:defRPr lang="en-US" dirty="0">
                <a:solidFill>
                  <a:schemeClr val="lt1"/>
                </a:solidFill>
              </a:defRPr>
            </a:lvl5pPr>
          </a:lstStyle>
          <a:p>
            <a:pPr marL="0" lvl="0"/>
            <a:r>
              <a:rPr lang="en-IN" dirty="0"/>
              <a:t>HEADING</a:t>
            </a: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BB82116B-6733-4FBB-8DB8-D7E8C6027F54}"/>
              </a:ext>
            </a:extLst>
          </p:cNvPr>
          <p:cNvCxnSpPr>
            <a:cxnSpLocks/>
          </p:cNvCxnSpPr>
          <p:nvPr userDrawn="1"/>
        </p:nvCxnSpPr>
        <p:spPr>
          <a:xfrm>
            <a:off x="7373480" y="2732543"/>
            <a:ext cx="0" cy="346646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 Placeholder 25">
            <a:extLst>
              <a:ext uri="{FF2B5EF4-FFF2-40B4-BE49-F238E27FC236}">
                <a16:creationId xmlns:a16="http://schemas.microsoft.com/office/drawing/2014/main" id="{44C922BA-DB39-4EF8-864F-6D5584EC9AB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90803" y="1932013"/>
            <a:ext cx="1998603" cy="66627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45720" rIns="1371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spcBef>
                <a:spcPts val="200"/>
              </a:spcBef>
              <a:buNone/>
              <a:defRPr lang="en-US" sz="2000" b="1" dirty="0" smtClean="0">
                <a:solidFill>
                  <a:schemeClr val="tx2"/>
                </a:solidFill>
              </a:defRPr>
            </a:lvl1pPr>
            <a:lvl2pPr>
              <a:defRPr lang="en-US" sz="1800" dirty="0" smtClean="0">
                <a:solidFill>
                  <a:schemeClr val="lt1"/>
                </a:solidFill>
              </a:defRPr>
            </a:lvl2pPr>
            <a:lvl3pPr>
              <a:defRPr lang="en-US" sz="1800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>
              <a:defRPr lang="en-US" dirty="0">
                <a:solidFill>
                  <a:schemeClr val="lt1"/>
                </a:solidFill>
              </a:defRPr>
            </a:lvl5pPr>
          </a:lstStyle>
          <a:p>
            <a:pPr marL="0" lvl="0"/>
            <a:r>
              <a:rPr lang="en-IN" dirty="0"/>
              <a:t>HEADING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93106254-2DA8-489B-A5A7-3377F79E45D4}"/>
              </a:ext>
            </a:extLst>
          </p:cNvPr>
          <p:cNvGrpSpPr/>
          <p:nvPr userDrawn="1"/>
        </p:nvGrpSpPr>
        <p:grpSpPr>
          <a:xfrm>
            <a:off x="9778618" y="1852615"/>
            <a:ext cx="2114433" cy="796401"/>
            <a:chOff x="9166205" y="2028080"/>
            <a:chExt cx="2505095" cy="620934"/>
          </a:xfrm>
          <a:noFill/>
        </p:grpSpPr>
        <p:sp>
          <p:nvSpPr>
            <p:cNvPr id="57" name="Rectangle 15">
              <a:extLst>
                <a:ext uri="{FF2B5EF4-FFF2-40B4-BE49-F238E27FC236}">
                  <a16:creationId xmlns:a16="http://schemas.microsoft.com/office/drawing/2014/main" id="{10C4832A-EEBF-46A7-8389-7F419DF5AB9B}"/>
                </a:ext>
              </a:extLst>
            </p:cNvPr>
            <p:cNvSpPr/>
            <p:nvPr userDrawn="1"/>
          </p:nvSpPr>
          <p:spPr>
            <a:xfrm flipH="1">
              <a:off x="11560810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grpFill/>
            <a:ln w="63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 dirty="0"/>
            </a:p>
          </p:txBody>
        </p:sp>
        <p:sp>
          <p:nvSpPr>
            <p:cNvPr id="59" name="Rectangle 15">
              <a:extLst>
                <a:ext uri="{FF2B5EF4-FFF2-40B4-BE49-F238E27FC236}">
                  <a16:creationId xmlns:a16="http://schemas.microsoft.com/office/drawing/2014/main" id="{24E80257-B9EF-4396-B4A3-C0D2C4824C69}"/>
                </a:ext>
              </a:extLst>
            </p:cNvPr>
            <p:cNvSpPr/>
            <p:nvPr userDrawn="1"/>
          </p:nvSpPr>
          <p:spPr>
            <a:xfrm>
              <a:off x="9166205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grpFill/>
            <a:ln w="63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</p:grpSp>
      <p:sp>
        <p:nvSpPr>
          <p:cNvPr id="60" name="Text Placeholder 25">
            <a:extLst>
              <a:ext uri="{FF2B5EF4-FFF2-40B4-BE49-F238E27FC236}">
                <a16:creationId xmlns:a16="http://schemas.microsoft.com/office/drawing/2014/main" id="{1E1802F4-4AD2-48AF-A686-25E26ED85C6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41873" y="1932012"/>
            <a:ext cx="1996824" cy="66627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45720" rIns="1371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spcBef>
                <a:spcPts val="200"/>
              </a:spcBef>
              <a:buNone/>
              <a:defRPr lang="en-US" sz="2000" b="1" dirty="0" smtClean="0">
                <a:solidFill>
                  <a:schemeClr val="accent4"/>
                </a:solidFill>
              </a:defRPr>
            </a:lvl1pPr>
            <a:lvl2pPr>
              <a:defRPr lang="en-US" sz="1800" dirty="0" smtClean="0">
                <a:solidFill>
                  <a:schemeClr val="lt1"/>
                </a:solidFill>
              </a:defRPr>
            </a:lvl2pPr>
            <a:lvl3pPr>
              <a:defRPr lang="en-US" sz="1800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>
              <a:defRPr lang="en-US" dirty="0">
                <a:solidFill>
                  <a:schemeClr val="lt1"/>
                </a:solidFill>
              </a:defRPr>
            </a:lvl5pPr>
          </a:lstStyle>
          <a:p>
            <a:pPr marL="0" lvl="0"/>
            <a:r>
              <a:rPr lang="en-IN" dirty="0"/>
              <a:t>HEADING</a:t>
            </a: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7A96CF24-1B29-4C87-90B6-D8579189A9DA}"/>
              </a:ext>
            </a:extLst>
          </p:cNvPr>
          <p:cNvCxnSpPr>
            <a:cxnSpLocks/>
          </p:cNvCxnSpPr>
          <p:nvPr userDrawn="1"/>
        </p:nvCxnSpPr>
        <p:spPr>
          <a:xfrm>
            <a:off x="9687178" y="2732543"/>
            <a:ext cx="0" cy="346646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 Placeholder 5">
            <a:extLst>
              <a:ext uri="{FF2B5EF4-FFF2-40B4-BE49-F238E27FC236}">
                <a16:creationId xmlns:a16="http://schemas.microsoft.com/office/drawing/2014/main" id="{FDE13FC5-B764-428B-AF2E-4BC3B924F647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2853895" y="2727961"/>
            <a:ext cx="2114433" cy="3466465"/>
          </a:xfrm>
        </p:spPr>
        <p:txBody>
          <a:bodyPr>
            <a:normAutofit/>
          </a:bodyPr>
          <a:lstStyle>
            <a:lvl1pPr marL="173034" indent="-173034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/>
            </a:lvl1pPr>
            <a:lvl2pPr marL="365760" indent="-182880">
              <a:lnSpc>
                <a:spcPct val="100000"/>
              </a:lnSpc>
              <a:spcBef>
                <a:spcPts val="0"/>
              </a:spcBef>
              <a:defRPr sz="12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4" name="Text Placeholder 5">
            <a:extLst>
              <a:ext uri="{FF2B5EF4-FFF2-40B4-BE49-F238E27FC236}">
                <a16:creationId xmlns:a16="http://schemas.microsoft.com/office/drawing/2014/main" id="{D1661449-8BC3-407B-9612-CE5185CCB24F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5162149" y="2727961"/>
            <a:ext cx="2114433" cy="3466465"/>
          </a:xfrm>
        </p:spPr>
        <p:txBody>
          <a:bodyPr>
            <a:normAutofit/>
          </a:bodyPr>
          <a:lstStyle>
            <a:lvl1pPr marL="173034" indent="-173034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/>
            </a:lvl1pPr>
            <a:lvl2pPr marL="365760" indent="-182880">
              <a:lnSpc>
                <a:spcPct val="100000"/>
              </a:lnSpc>
              <a:spcBef>
                <a:spcPts val="0"/>
              </a:spcBef>
              <a:defRPr sz="12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5" name="Text Placeholder 5">
            <a:extLst>
              <a:ext uri="{FF2B5EF4-FFF2-40B4-BE49-F238E27FC236}">
                <a16:creationId xmlns:a16="http://schemas.microsoft.com/office/drawing/2014/main" id="{EC2A1E08-097C-4ABC-9F40-4BC3FA34F4A9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464920" y="2727960"/>
            <a:ext cx="2114433" cy="3466465"/>
          </a:xfrm>
        </p:spPr>
        <p:txBody>
          <a:bodyPr>
            <a:normAutofit/>
          </a:bodyPr>
          <a:lstStyle>
            <a:lvl1pPr marL="173034" indent="-173034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/>
            </a:lvl1pPr>
            <a:lvl2pPr marL="365760" indent="-182880">
              <a:lnSpc>
                <a:spcPct val="100000"/>
              </a:lnSpc>
              <a:spcBef>
                <a:spcPts val="0"/>
              </a:spcBef>
              <a:defRPr sz="12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6" name="Text Placeholder 5">
            <a:extLst>
              <a:ext uri="{FF2B5EF4-FFF2-40B4-BE49-F238E27FC236}">
                <a16:creationId xmlns:a16="http://schemas.microsoft.com/office/drawing/2014/main" id="{2014E944-8DC7-42F5-9149-D34EBB540B19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9795004" y="2727960"/>
            <a:ext cx="2114433" cy="3466465"/>
          </a:xfrm>
        </p:spPr>
        <p:txBody>
          <a:bodyPr>
            <a:normAutofit/>
          </a:bodyPr>
          <a:lstStyle>
            <a:lvl1pPr marL="173034" indent="-173034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/>
            </a:lvl1pPr>
            <a:lvl2pPr marL="365760" indent="-182880">
              <a:lnSpc>
                <a:spcPct val="100000"/>
              </a:lnSpc>
              <a:spcBef>
                <a:spcPts val="0"/>
              </a:spcBef>
              <a:defRPr sz="12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546750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A0525C-39ED-4181-8FB9-7C9009B723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FD6906-2AEB-4631-A333-6603399BA68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594" indent="-228594">
              <a:buFont typeface="Wingdings" panose="05000000000000000000" pitchFamily="2" charset="2"/>
              <a:buChar char="§"/>
              <a:defRPr>
                <a:solidFill>
                  <a:schemeClr val="accent3"/>
                </a:solidFill>
              </a:defRPr>
            </a:lvl1pPr>
            <a:lvl2pPr marL="800080" indent="-342891">
              <a:buFont typeface="Wingdings" panose="05000000000000000000" pitchFamily="2" charset="2"/>
              <a:buChar char="§"/>
              <a:defRPr>
                <a:solidFill>
                  <a:schemeClr val="accent3"/>
                </a:solidFill>
              </a:defRPr>
            </a:lvl2pPr>
            <a:lvl3pPr marL="1142971" indent="-228594">
              <a:buFont typeface="Wingdings" panose="05000000000000000000" pitchFamily="2" charset="2"/>
              <a:buChar char="§"/>
              <a:defRPr>
                <a:solidFill>
                  <a:schemeClr val="accent3"/>
                </a:solidFill>
              </a:defRPr>
            </a:lvl3pPr>
            <a:lvl4pPr marL="1600160" indent="-228594">
              <a:buFont typeface="Wingdings" panose="05000000000000000000" pitchFamily="2" charset="2"/>
              <a:buChar char="§"/>
              <a:defRPr>
                <a:solidFill>
                  <a:schemeClr val="accent3"/>
                </a:solidFill>
              </a:defRPr>
            </a:lvl4pPr>
            <a:lvl5pPr marL="2057349" indent="-228594">
              <a:buFont typeface="Wingdings" panose="05000000000000000000" pitchFamily="2" charset="2"/>
              <a:buChar char="§"/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7386196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0041BE-2CAE-4C15-BA52-DAC0F73B2B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B16A80-4040-4F01-ABD5-1D135455F00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 marL="228594" indent="-228594">
              <a:buFont typeface="Wingdings" panose="05000000000000000000" pitchFamily="2" charset="2"/>
              <a:buChar char="§"/>
              <a:defRPr/>
            </a:lvl1pPr>
            <a:lvl2pPr marL="685783" indent="-228594">
              <a:buFont typeface="Wingdings" panose="05000000000000000000" pitchFamily="2" charset="2"/>
              <a:buChar char="§"/>
              <a:defRPr/>
            </a:lvl2pPr>
            <a:lvl3pPr marL="1142971" indent="-228594">
              <a:buFont typeface="Wingdings" panose="05000000000000000000" pitchFamily="2" charset="2"/>
              <a:buChar char="§"/>
              <a:defRPr/>
            </a:lvl3pPr>
            <a:lvl4pPr marL="1600160" indent="-228594">
              <a:buFont typeface="Wingdings" panose="05000000000000000000" pitchFamily="2" charset="2"/>
              <a:buChar char="§"/>
              <a:defRPr/>
            </a:lvl4pPr>
            <a:lvl5pPr marL="2057349" indent="-228594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D99BFCE-3356-4C85-8AC0-868308E0E2B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 marL="228594" indent="-228594">
              <a:buFont typeface="Wingdings" panose="05000000000000000000" pitchFamily="2" charset="2"/>
              <a:buChar char="§"/>
              <a:defRPr/>
            </a:lvl1pPr>
            <a:lvl2pPr marL="685783" indent="-228594">
              <a:buFont typeface="Wingdings" panose="05000000000000000000" pitchFamily="2" charset="2"/>
              <a:buChar char="§"/>
              <a:defRPr/>
            </a:lvl2pPr>
            <a:lvl3pPr marL="1142971" indent="-228594">
              <a:buFont typeface="Wingdings" panose="05000000000000000000" pitchFamily="2" charset="2"/>
              <a:buChar char="§"/>
              <a:defRPr/>
            </a:lvl3pPr>
            <a:lvl4pPr marL="1600160" indent="-228594">
              <a:buFont typeface="Wingdings" panose="05000000000000000000" pitchFamily="2" charset="2"/>
              <a:buChar char="§"/>
              <a:defRPr/>
            </a:lvl4pPr>
            <a:lvl5pPr marL="2057349" indent="-228594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1955212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90BDAF-F982-4BE8-B30D-9B8F57FD96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EB56A4F-458F-4451-BC9D-8378E08BCF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0B259E7-F1CB-4F7A-A55B-7CECBC9CC8F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>
            <a:lvl1pPr marL="228594" indent="-228594">
              <a:buFont typeface="Wingdings" panose="05000000000000000000" pitchFamily="2" charset="2"/>
              <a:buChar char="§"/>
              <a:defRPr>
                <a:solidFill>
                  <a:schemeClr val="accent3"/>
                </a:solidFill>
              </a:defRPr>
            </a:lvl1pPr>
            <a:lvl2pPr marL="685783" indent="-228594">
              <a:buFont typeface="Wingdings" panose="05000000000000000000" pitchFamily="2" charset="2"/>
              <a:buChar char="§"/>
              <a:defRPr>
                <a:solidFill>
                  <a:schemeClr val="accent3"/>
                </a:solidFill>
              </a:defRPr>
            </a:lvl2pPr>
            <a:lvl3pPr marL="1142971" indent="-228594">
              <a:buFont typeface="Wingdings" panose="05000000000000000000" pitchFamily="2" charset="2"/>
              <a:buChar char="§"/>
              <a:defRPr>
                <a:solidFill>
                  <a:schemeClr val="accent3"/>
                </a:solidFill>
              </a:defRPr>
            </a:lvl3pPr>
            <a:lvl4pPr marL="1600160" indent="-228594">
              <a:buFont typeface="Wingdings" panose="05000000000000000000" pitchFamily="2" charset="2"/>
              <a:buChar char="§"/>
              <a:defRPr>
                <a:solidFill>
                  <a:schemeClr val="accent3"/>
                </a:solidFill>
              </a:defRPr>
            </a:lvl4pPr>
            <a:lvl5pPr marL="2057349" indent="-228594">
              <a:buFont typeface="Wingdings" panose="05000000000000000000" pitchFamily="2" charset="2"/>
              <a:buChar char="§"/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55E882E-8D1C-4FB5-B822-6038B4A0265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653E397-6D59-488D-8697-F881F9A77E7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>
            <a:lvl1pPr marL="228594" indent="-228594">
              <a:buFont typeface="Wingdings" panose="05000000000000000000" pitchFamily="2" charset="2"/>
              <a:buChar char="§"/>
              <a:defRPr>
                <a:solidFill>
                  <a:schemeClr val="accent3"/>
                </a:solidFill>
              </a:defRPr>
            </a:lvl1pPr>
            <a:lvl2pPr marL="685783" indent="-228594">
              <a:buFont typeface="Wingdings" panose="05000000000000000000" pitchFamily="2" charset="2"/>
              <a:buChar char="§"/>
              <a:defRPr>
                <a:solidFill>
                  <a:schemeClr val="accent3"/>
                </a:solidFill>
              </a:defRPr>
            </a:lvl2pPr>
            <a:lvl3pPr marL="1142971" indent="-228594">
              <a:buFont typeface="Wingdings" panose="05000000000000000000" pitchFamily="2" charset="2"/>
              <a:buChar char="§"/>
              <a:defRPr>
                <a:solidFill>
                  <a:schemeClr val="accent3"/>
                </a:solidFill>
              </a:defRPr>
            </a:lvl3pPr>
            <a:lvl4pPr marL="1600160" indent="-228594">
              <a:buFont typeface="Wingdings" panose="05000000000000000000" pitchFamily="2" charset="2"/>
              <a:buChar char="§"/>
              <a:defRPr>
                <a:solidFill>
                  <a:schemeClr val="accent3"/>
                </a:solidFill>
              </a:defRPr>
            </a:lvl4pPr>
            <a:lvl5pPr marL="2057349" indent="-228594">
              <a:buFont typeface="Wingdings" panose="05000000000000000000" pitchFamily="2" charset="2"/>
              <a:buChar char="§"/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661565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B478C8-9A68-41B1-BFAC-D0E51BC849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943802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864445-3C13-49B7-B697-2F53AC0BDF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6477A0-5688-4BBE-A446-5AE2D74B25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228594" indent="-228594">
              <a:buFont typeface="Wingdings" panose="05000000000000000000" pitchFamily="2" charset="2"/>
              <a:buChar char="§"/>
              <a:defRPr sz="3200"/>
            </a:lvl1pPr>
            <a:lvl2pPr marL="685783" indent="-228594">
              <a:buFont typeface="Wingdings" panose="05000000000000000000" pitchFamily="2" charset="2"/>
              <a:buChar char="§"/>
              <a:defRPr sz="2800"/>
            </a:lvl2pPr>
            <a:lvl3pPr marL="1142971" indent="-228594">
              <a:buFont typeface="Wingdings" panose="05000000000000000000" pitchFamily="2" charset="2"/>
              <a:buChar char="§"/>
              <a:defRPr sz="2400"/>
            </a:lvl3pPr>
            <a:lvl4pPr marL="1600160" indent="-228594">
              <a:buFont typeface="Wingdings" panose="05000000000000000000" pitchFamily="2" charset="2"/>
              <a:buChar char="§"/>
              <a:defRPr sz="2000"/>
            </a:lvl4pPr>
            <a:lvl5pPr marL="2057349" indent="-228594">
              <a:buFont typeface="Wingdings" panose="05000000000000000000" pitchFamily="2" charset="2"/>
              <a:buChar char="§"/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866261-2C3E-414C-BD4F-64338129FAC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6168433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31E189-A88D-48F7-B7F7-5F048B58E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CE7D420-09B6-437F-AC56-80159B51313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557A30-DDE0-41F2-BD68-920CF2AD65B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5698004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ayout with 3 placeholder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8FE2F78A-16B0-4027-AC7E-5F7B5A6F0A7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203" y="1962150"/>
            <a:ext cx="3392456" cy="1631132"/>
          </a:xfrm>
        </p:spPr>
        <p:txBody>
          <a:bodyPr>
            <a:normAutofit/>
          </a:bodyPr>
          <a:lstStyle>
            <a:lvl1pPr marL="0" indent="0" algn="ctr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  <a:endParaRPr lang="en-IN" dirty="0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A3B46C2E-3988-49CD-A275-A3E38C195E1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99755" y="1962150"/>
            <a:ext cx="3392456" cy="1631132"/>
          </a:xfrm>
        </p:spPr>
        <p:txBody>
          <a:bodyPr>
            <a:normAutofit/>
          </a:bodyPr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  <a:endParaRPr lang="en-IN" dirty="0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23F2A667-EAD5-4F8B-9CAA-4C0D2B2FDD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60309" y="1962150"/>
            <a:ext cx="3392456" cy="1631132"/>
          </a:xfrm>
        </p:spPr>
        <p:txBody>
          <a:bodyPr>
            <a:normAutofit/>
          </a:bodyPr>
          <a:lstStyle>
            <a:lvl1pPr marL="0" indent="0" algn="ctr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  <a:endParaRPr lang="en-IN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B478C8-9A68-41B1-BFAC-D0E51BC849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A8D3827-4055-4597-96F6-72723461F6A1}"/>
              </a:ext>
            </a:extLst>
          </p:cNvPr>
          <p:cNvSpPr/>
          <p:nvPr userDrawn="1"/>
        </p:nvSpPr>
        <p:spPr>
          <a:xfrm>
            <a:off x="838201" y="1915887"/>
            <a:ext cx="3394495" cy="4286477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2194560" rIns="91440" bIns="91440" rtlCol="0" anchor="t"/>
          <a:lstStyle/>
          <a:p>
            <a:pPr marL="274313" indent="-274313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en-US" sz="1800" kern="0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DFBA876-D963-420A-A4F3-D48D158BFD07}"/>
              </a:ext>
            </a:extLst>
          </p:cNvPr>
          <p:cNvSpPr/>
          <p:nvPr userDrawn="1"/>
        </p:nvSpPr>
        <p:spPr>
          <a:xfrm>
            <a:off x="4398753" y="1915887"/>
            <a:ext cx="3394495" cy="4286477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2194560" rIns="91440" bIns="91440" rtlCol="0" anchor="t"/>
          <a:lstStyle/>
          <a:p>
            <a:pPr marL="274313" indent="-274313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en-US" sz="1800" kern="0" dirty="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6B67C28-2557-474E-9CDC-221D262B314A}"/>
              </a:ext>
            </a:extLst>
          </p:cNvPr>
          <p:cNvSpPr/>
          <p:nvPr userDrawn="1"/>
        </p:nvSpPr>
        <p:spPr>
          <a:xfrm>
            <a:off x="7959306" y="1915887"/>
            <a:ext cx="3394495" cy="4286477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2194560" rIns="91440" bIns="91440" rtlCol="0" anchor="t"/>
          <a:lstStyle/>
          <a:p>
            <a:pPr marL="274313" indent="-274313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en-US" sz="1800" kern="0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68DB8B4-FA03-49E9-9F70-2A1DD9702F3C}"/>
              </a:ext>
            </a:extLst>
          </p:cNvPr>
          <p:cNvSpPr/>
          <p:nvPr userDrawn="1"/>
        </p:nvSpPr>
        <p:spPr>
          <a:xfrm>
            <a:off x="839235" y="1915885"/>
            <a:ext cx="3392424" cy="45720"/>
          </a:xfrm>
          <a:prstGeom prst="rect">
            <a:avLst/>
          </a:prstGeom>
          <a:solidFill>
            <a:srgbClr val="183D6F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4E21653-9E49-429B-9FDB-3A85CCE44D35}"/>
              </a:ext>
            </a:extLst>
          </p:cNvPr>
          <p:cNvSpPr/>
          <p:nvPr userDrawn="1"/>
        </p:nvSpPr>
        <p:spPr>
          <a:xfrm>
            <a:off x="4399787" y="1915885"/>
            <a:ext cx="3392424" cy="4572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FB7D3F1-14DE-430B-80C5-9A8FD08824E7}"/>
              </a:ext>
            </a:extLst>
          </p:cNvPr>
          <p:cNvSpPr/>
          <p:nvPr userDrawn="1"/>
        </p:nvSpPr>
        <p:spPr>
          <a:xfrm>
            <a:off x="7960341" y="1915885"/>
            <a:ext cx="3392424" cy="4572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FDC42DB-CEFF-4F55-8C95-F9C35A91FC47}"/>
              </a:ext>
            </a:extLst>
          </p:cNvPr>
          <p:cNvCxnSpPr>
            <a:cxnSpLocks/>
          </p:cNvCxnSpPr>
          <p:nvPr userDrawn="1"/>
        </p:nvCxnSpPr>
        <p:spPr>
          <a:xfrm>
            <a:off x="1045941" y="3663541"/>
            <a:ext cx="297901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0CE4BDF-D693-4971-A22B-BAA4622297D0}"/>
              </a:ext>
            </a:extLst>
          </p:cNvPr>
          <p:cNvCxnSpPr>
            <a:cxnSpLocks/>
          </p:cNvCxnSpPr>
          <p:nvPr userDrawn="1"/>
        </p:nvCxnSpPr>
        <p:spPr>
          <a:xfrm>
            <a:off x="4606493" y="3663541"/>
            <a:ext cx="297901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CA3946A-BA62-4CA2-838A-C48AE3A51F45}"/>
              </a:ext>
            </a:extLst>
          </p:cNvPr>
          <p:cNvCxnSpPr>
            <a:cxnSpLocks/>
          </p:cNvCxnSpPr>
          <p:nvPr userDrawn="1"/>
        </p:nvCxnSpPr>
        <p:spPr>
          <a:xfrm>
            <a:off x="8167046" y="3663541"/>
            <a:ext cx="297901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CDC1208E-70D0-42A1-9CE5-072B47129B46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838200" y="3733802"/>
            <a:ext cx="3391453" cy="246856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Bullet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2E646D03-FF8D-4D52-B0DF-19BAA60E9D51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400759" y="3733802"/>
            <a:ext cx="3391453" cy="246856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Bullet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000C825A-9A34-4914-9E66-81100A8E2889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7961312" y="3733802"/>
            <a:ext cx="3391453" cy="246856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Bullet</a:t>
            </a:r>
          </a:p>
        </p:txBody>
      </p:sp>
    </p:spTree>
    <p:extLst>
      <p:ext uri="{BB962C8B-B14F-4D97-AF65-F5344CB8AC3E}">
        <p14:creationId xmlns:p14="http://schemas.microsoft.com/office/powerpoint/2010/main" val="41197173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B775678-E639-6B0D-77F9-10A5B2B877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6312C-EAFF-4BED-94F5-BEE52E89B31E}" type="datetimeFigureOut">
              <a:rPr lang="en-US" smtClean="0"/>
              <a:t>2/14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9084331-81A1-186F-3FC6-CD72E31564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7FEC2D-E77E-9016-A493-307BF3A02E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EEC150-AE8D-49EF-81A6-13FC777E18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817994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ayout with 4 placeholder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8FE2F78A-16B0-4027-AC7E-5F7B5A6F0A7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933" y="1962150"/>
            <a:ext cx="2432785" cy="1631132"/>
          </a:xfrm>
        </p:spPr>
        <p:txBody>
          <a:bodyPr>
            <a:normAutofit/>
          </a:bodyPr>
          <a:lstStyle>
            <a:lvl1pPr marL="0" indent="0" algn="ctr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  <a:endParaRPr lang="en-IN" dirty="0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A3B46C2E-3988-49CD-A275-A3E38C195E1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32796" y="1962150"/>
            <a:ext cx="2432785" cy="1631132"/>
          </a:xfrm>
        </p:spPr>
        <p:txBody>
          <a:bodyPr>
            <a:normAutofit/>
          </a:bodyPr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  <a:endParaRPr lang="en-IN" dirty="0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23F2A667-EAD5-4F8B-9CAA-4C0D2B2FDD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26386" y="1962150"/>
            <a:ext cx="2432785" cy="1631132"/>
          </a:xfrm>
        </p:spPr>
        <p:txBody>
          <a:bodyPr>
            <a:normAutofit/>
          </a:bodyPr>
          <a:lstStyle>
            <a:lvl1pPr marL="0" indent="0" algn="ctr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  <a:endParaRPr lang="en-IN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B478C8-9A68-41B1-BFAC-D0E51BC849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A8D3827-4055-4597-96F6-72723461F6A1}"/>
              </a:ext>
            </a:extLst>
          </p:cNvPr>
          <p:cNvSpPr/>
          <p:nvPr userDrawn="1"/>
        </p:nvSpPr>
        <p:spPr>
          <a:xfrm>
            <a:off x="838202" y="1915887"/>
            <a:ext cx="2434247" cy="4286477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2194560" rIns="91440" bIns="91440" rtlCol="0" anchor="t"/>
          <a:lstStyle/>
          <a:p>
            <a:pPr marL="274313" indent="-274313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en-US" sz="1800" kern="0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DFBA876-D963-420A-A4F3-D48D158BFD07}"/>
              </a:ext>
            </a:extLst>
          </p:cNvPr>
          <p:cNvSpPr/>
          <p:nvPr userDrawn="1"/>
        </p:nvSpPr>
        <p:spPr>
          <a:xfrm>
            <a:off x="3531793" y="1915887"/>
            <a:ext cx="2434247" cy="4286477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2194560" rIns="91440" bIns="91440" rtlCol="0" anchor="t"/>
          <a:lstStyle/>
          <a:p>
            <a:pPr marL="274313" indent="-274313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en-US" sz="1800" kern="0" dirty="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6B67C28-2557-474E-9CDC-221D262B314A}"/>
              </a:ext>
            </a:extLst>
          </p:cNvPr>
          <p:cNvSpPr/>
          <p:nvPr userDrawn="1"/>
        </p:nvSpPr>
        <p:spPr>
          <a:xfrm>
            <a:off x="6225383" y="1915887"/>
            <a:ext cx="2434247" cy="4286477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2194560" rIns="91440" bIns="91440" rtlCol="0" anchor="t"/>
          <a:lstStyle/>
          <a:p>
            <a:pPr marL="274313" indent="-274313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en-US" sz="1800" kern="0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68DB8B4-FA03-49E9-9F70-2A1DD9702F3C}"/>
              </a:ext>
            </a:extLst>
          </p:cNvPr>
          <p:cNvSpPr/>
          <p:nvPr userDrawn="1"/>
        </p:nvSpPr>
        <p:spPr>
          <a:xfrm>
            <a:off x="838941" y="1915885"/>
            <a:ext cx="2432763" cy="45720"/>
          </a:xfrm>
          <a:prstGeom prst="rect">
            <a:avLst/>
          </a:prstGeom>
          <a:solidFill>
            <a:srgbClr val="183D6F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4E21653-9E49-429B-9FDB-3A85CCE44D35}"/>
              </a:ext>
            </a:extLst>
          </p:cNvPr>
          <p:cNvSpPr/>
          <p:nvPr userDrawn="1"/>
        </p:nvSpPr>
        <p:spPr>
          <a:xfrm>
            <a:off x="3532825" y="1915885"/>
            <a:ext cx="2432763" cy="4572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FB7D3F1-14DE-430B-80C5-9A8FD08824E7}"/>
              </a:ext>
            </a:extLst>
          </p:cNvPr>
          <p:cNvSpPr/>
          <p:nvPr userDrawn="1"/>
        </p:nvSpPr>
        <p:spPr>
          <a:xfrm>
            <a:off x="6226417" y="1915885"/>
            <a:ext cx="2432763" cy="4572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FDC42DB-CEFF-4F55-8C95-F9C35A91FC47}"/>
              </a:ext>
            </a:extLst>
          </p:cNvPr>
          <p:cNvCxnSpPr>
            <a:cxnSpLocks/>
          </p:cNvCxnSpPr>
          <p:nvPr userDrawn="1"/>
        </p:nvCxnSpPr>
        <p:spPr>
          <a:xfrm>
            <a:off x="987174" y="3663541"/>
            <a:ext cx="213630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0CE4BDF-D693-4971-A22B-BAA4622297D0}"/>
              </a:ext>
            </a:extLst>
          </p:cNvPr>
          <p:cNvCxnSpPr>
            <a:cxnSpLocks/>
          </p:cNvCxnSpPr>
          <p:nvPr userDrawn="1"/>
        </p:nvCxnSpPr>
        <p:spPr>
          <a:xfrm>
            <a:off x="3680764" y="3663541"/>
            <a:ext cx="213630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CA3946A-BA62-4CA2-838A-C48AE3A51F45}"/>
              </a:ext>
            </a:extLst>
          </p:cNvPr>
          <p:cNvCxnSpPr>
            <a:cxnSpLocks/>
          </p:cNvCxnSpPr>
          <p:nvPr userDrawn="1"/>
        </p:nvCxnSpPr>
        <p:spPr>
          <a:xfrm>
            <a:off x="6374356" y="3663541"/>
            <a:ext cx="213630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CDC1208E-70D0-42A1-9CE5-072B47129B46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839289" y="3733802"/>
            <a:ext cx="2432067" cy="246856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Bullet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2E646D03-FF8D-4D52-B0DF-19BAA60E9D51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3532461" y="3733802"/>
            <a:ext cx="2432067" cy="246856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Bullet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000C825A-9A34-4914-9E66-81100A8E2889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226721" y="3733802"/>
            <a:ext cx="2432067" cy="246856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Bullet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FA35CBB7-4456-4483-AF43-2E6A950F97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919705" y="1962150"/>
            <a:ext cx="2432785" cy="1631132"/>
          </a:xfrm>
        </p:spPr>
        <p:txBody>
          <a:bodyPr>
            <a:normAutofit/>
          </a:bodyPr>
          <a:lstStyle>
            <a:lvl1pPr marL="0" indent="0" algn="ctr">
              <a:buNone/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  <a:endParaRPr lang="en-IN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0861325-E3F3-4672-B284-84C2002B70A6}"/>
              </a:ext>
            </a:extLst>
          </p:cNvPr>
          <p:cNvSpPr/>
          <p:nvPr userDrawn="1"/>
        </p:nvSpPr>
        <p:spPr>
          <a:xfrm>
            <a:off x="8918974" y="1915887"/>
            <a:ext cx="2434247" cy="4286477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2194560" rIns="91440" bIns="91440" rtlCol="0" anchor="t"/>
          <a:lstStyle/>
          <a:p>
            <a:pPr marL="274313" indent="-274313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en-US" sz="1800" kern="0" dirty="0">
              <a:solidFill>
                <a:schemeClr val="tx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FF97861-C208-4CFA-B871-16BE44AD5E2B}"/>
              </a:ext>
            </a:extLst>
          </p:cNvPr>
          <p:cNvSpPr/>
          <p:nvPr userDrawn="1"/>
        </p:nvSpPr>
        <p:spPr>
          <a:xfrm>
            <a:off x="8919715" y="1915885"/>
            <a:ext cx="2432763" cy="4572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8E8B326-1847-4358-AB0A-1F6BDDD9608E}"/>
              </a:ext>
            </a:extLst>
          </p:cNvPr>
          <p:cNvCxnSpPr>
            <a:cxnSpLocks/>
          </p:cNvCxnSpPr>
          <p:nvPr userDrawn="1"/>
        </p:nvCxnSpPr>
        <p:spPr>
          <a:xfrm>
            <a:off x="9067947" y="3663541"/>
            <a:ext cx="213630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9">
            <a:extLst>
              <a:ext uri="{FF2B5EF4-FFF2-40B4-BE49-F238E27FC236}">
                <a16:creationId xmlns:a16="http://schemas.microsoft.com/office/drawing/2014/main" id="{F81C08F7-8C59-44E7-807C-4BDF87CCFD9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20063" y="3733802"/>
            <a:ext cx="2432067" cy="246856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Bullet</a:t>
            </a:r>
          </a:p>
        </p:txBody>
      </p:sp>
    </p:spTree>
    <p:extLst>
      <p:ext uri="{BB962C8B-B14F-4D97-AF65-F5344CB8AC3E}">
        <p14:creationId xmlns:p14="http://schemas.microsoft.com/office/powerpoint/2010/main" val="312061351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0 placeholder for text and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B478C8-9A68-41B1-BFAC-D0E51BC849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AF4D647-C49F-4F6C-9028-2209823B28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8200" y="2802684"/>
            <a:ext cx="1981200" cy="1096216"/>
          </a:xfrm>
        </p:spPr>
        <p:txBody>
          <a:bodyPr anchor="t">
            <a:norm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Content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96D0312-0131-4332-88BA-1D3B1E5A03CE}"/>
              </a:ext>
            </a:extLst>
          </p:cNvPr>
          <p:cNvCxnSpPr>
            <a:cxnSpLocks/>
          </p:cNvCxnSpPr>
          <p:nvPr userDrawn="1"/>
        </p:nvCxnSpPr>
        <p:spPr>
          <a:xfrm>
            <a:off x="1504558" y="2601290"/>
            <a:ext cx="64848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76A3E94-D475-46AC-B9D2-AA3C13549011}"/>
              </a:ext>
            </a:extLst>
          </p:cNvPr>
          <p:cNvCxnSpPr>
            <a:cxnSpLocks/>
          </p:cNvCxnSpPr>
          <p:nvPr userDrawn="1"/>
        </p:nvCxnSpPr>
        <p:spPr>
          <a:xfrm>
            <a:off x="3638158" y="2601290"/>
            <a:ext cx="64848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4A0CA01-8C76-4F17-97C0-AB0BCD9F7F38}"/>
              </a:ext>
            </a:extLst>
          </p:cNvPr>
          <p:cNvCxnSpPr>
            <a:cxnSpLocks/>
          </p:cNvCxnSpPr>
          <p:nvPr userDrawn="1"/>
        </p:nvCxnSpPr>
        <p:spPr>
          <a:xfrm>
            <a:off x="5771758" y="2601290"/>
            <a:ext cx="64848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78848CA-A85A-4B75-BF2B-4BB48478F58E}"/>
              </a:ext>
            </a:extLst>
          </p:cNvPr>
          <p:cNvCxnSpPr>
            <a:cxnSpLocks/>
          </p:cNvCxnSpPr>
          <p:nvPr userDrawn="1"/>
        </p:nvCxnSpPr>
        <p:spPr>
          <a:xfrm>
            <a:off x="7905358" y="2601290"/>
            <a:ext cx="64848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9725D17-1929-481B-9516-B0E0A3780585}"/>
              </a:ext>
            </a:extLst>
          </p:cNvPr>
          <p:cNvCxnSpPr>
            <a:cxnSpLocks/>
          </p:cNvCxnSpPr>
          <p:nvPr userDrawn="1"/>
        </p:nvCxnSpPr>
        <p:spPr>
          <a:xfrm>
            <a:off x="10038958" y="2601290"/>
            <a:ext cx="64848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14">
            <a:extLst>
              <a:ext uri="{FF2B5EF4-FFF2-40B4-BE49-F238E27FC236}">
                <a16:creationId xmlns:a16="http://schemas.microsoft.com/office/drawing/2014/main" id="{2E254A04-1498-4AD5-8939-8723E013EAD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971800" y="2802684"/>
            <a:ext cx="1981200" cy="1096216"/>
          </a:xfrm>
        </p:spPr>
        <p:txBody>
          <a:bodyPr anchor="t">
            <a:norm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50" name="Text Placeholder 14">
            <a:extLst>
              <a:ext uri="{FF2B5EF4-FFF2-40B4-BE49-F238E27FC236}">
                <a16:creationId xmlns:a16="http://schemas.microsoft.com/office/drawing/2014/main" id="{18A79C60-485B-452E-BA09-8C91896E1F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05400" y="2802684"/>
            <a:ext cx="1981200" cy="1096216"/>
          </a:xfrm>
        </p:spPr>
        <p:txBody>
          <a:bodyPr anchor="t">
            <a:norm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51" name="Text Placeholder 14">
            <a:extLst>
              <a:ext uri="{FF2B5EF4-FFF2-40B4-BE49-F238E27FC236}">
                <a16:creationId xmlns:a16="http://schemas.microsoft.com/office/drawing/2014/main" id="{AE045468-6550-4CB3-BE8E-C333BBEA0FE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39000" y="2802684"/>
            <a:ext cx="1981200" cy="1096216"/>
          </a:xfrm>
        </p:spPr>
        <p:txBody>
          <a:bodyPr anchor="t">
            <a:norm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52" name="Text Placeholder 14">
            <a:extLst>
              <a:ext uri="{FF2B5EF4-FFF2-40B4-BE49-F238E27FC236}">
                <a16:creationId xmlns:a16="http://schemas.microsoft.com/office/drawing/2014/main" id="{C6D7F429-6DE5-462D-B5CE-C89C30BC750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372600" y="2802684"/>
            <a:ext cx="1981200" cy="1096216"/>
          </a:xfrm>
        </p:spPr>
        <p:txBody>
          <a:bodyPr anchor="t">
            <a:norm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53" name="Text Placeholder 14">
            <a:extLst>
              <a:ext uri="{FF2B5EF4-FFF2-40B4-BE49-F238E27FC236}">
                <a16:creationId xmlns:a16="http://schemas.microsoft.com/office/drawing/2014/main" id="{A1046C2F-1FDF-4717-BF1F-B03EAAF96E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8200" y="5088684"/>
            <a:ext cx="1981200" cy="1096216"/>
          </a:xfrm>
        </p:spPr>
        <p:txBody>
          <a:bodyPr anchor="t">
            <a:norm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Content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A88644DC-C329-4380-92B0-4BB01171B456}"/>
              </a:ext>
            </a:extLst>
          </p:cNvPr>
          <p:cNvCxnSpPr>
            <a:cxnSpLocks/>
          </p:cNvCxnSpPr>
          <p:nvPr userDrawn="1"/>
        </p:nvCxnSpPr>
        <p:spPr>
          <a:xfrm>
            <a:off x="1504558" y="4887290"/>
            <a:ext cx="64848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CDB565D7-B817-4BEF-BC70-05D9E8E9F39E}"/>
              </a:ext>
            </a:extLst>
          </p:cNvPr>
          <p:cNvCxnSpPr>
            <a:cxnSpLocks/>
          </p:cNvCxnSpPr>
          <p:nvPr userDrawn="1"/>
        </p:nvCxnSpPr>
        <p:spPr>
          <a:xfrm>
            <a:off x="3638158" y="4887290"/>
            <a:ext cx="64848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2B57B53D-31F0-4AA5-AD81-AA1911726593}"/>
              </a:ext>
            </a:extLst>
          </p:cNvPr>
          <p:cNvCxnSpPr>
            <a:cxnSpLocks/>
          </p:cNvCxnSpPr>
          <p:nvPr userDrawn="1"/>
        </p:nvCxnSpPr>
        <p:spPr>
          <a:xfrm>
            <a:off x="5771758" y="4887290"/>
            <a:ext cx="64848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57DFB8C5-AD7D-4875-ACBF-28E1903551E1}"/>
              </a:ext>
            </a:extLst>
          </p:cNvPr>
          <p:cNvCxnSpPr>
            <a:cxnSpLocks/>
          </p:cNvCxnSpPr>
          <p:nvPr userDrawn="1"/>
        </p:nvCxnSpPr>
        <p:spPr>
          <a:xfrm>
            <a:off x="7905358" y="4887290"/>
            <a:ext cx="64848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D7426673-96B9-4F55-AE80-50B5FC9121B2}"/>
              </a:ext>
            </a:extLst>
          </p:cNvPr>
          <p:cNvCxnSpPr>
            <a:cxnSpLocks/>
          </p:cNvCxnSpPr>
          <p:nvPr userDrawn="1"/>
        </p:nvCxnSpPr>
        <p:spPr>
          <a:xfrm>
            <a:off x="10038958" y="4887290"/>
            <a:ext cx="64848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 Placeholder 14">
            <a:extLst>
              <a:ext uri="{FF2B5EF4-FFF2-40B4-BE49-F238E27FC236}">
                <a16:creationId xmlns:a16="http://schemas.microsoft.com/office/drawing/2014/main" id="{1246A83F-55E7-414E-B321-9D75FDD54E4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971800" y="5088684"/>
            <a:ext cx="1981200" cy="1096216"/>
          </a:xfrm>
        </p:spPr>
        <p:txBody>
          <a:bodyPr anchor="t">
            <a:norm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65" name="Text Placeholder 14">
            <a:extLst>
              <a:ext uri="{FF2B5EF4-FFF2-40B4-BE49-F238E27FC236}">
                <a16:creationId xmlns:a16="http://schemas.microsoft.com/office/drawing/2014/main" id="{95981E21-2752-4AC3-A280-C1B75A6D66F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05400" y="5088684"/>
            <a:ext cx="1981200" cy="1096216"/>
          </a:xfrm>
        </p:spPr>
        <p:txBody>
          <a:bodyPr anchor="t">
            <a:norm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66" name="Text Placeholder 14">
            <a:extLst>
              <a:ext uri="{FF2B5EF4-FFF2-40B4-BE49-F238E27FC236}">
                <a16:creationId xmlns:a16="http://schemas.microsoft.com/office/drawing/2014/main" id="{E41C586F-1DF2-487C-B03E-2A8D8A6E702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39000" y="5088684"/>
            <a:ext cx="1981200" cy="1096216"/>
          </a:xfrm>
        </p:spPr>
        <p:txBody>
          <a:bodyPr anchor="t">
            <a:norm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67" name="Text Placeholder 14">
            <a:extLst>
              <a:ext uri="{FF2B5EF4-FFF2-40B4-BE49-F238E27FC236}">
                <a16:creationId xmlns:a16="http://schemas.microsoft.com/office/drawing/2014/main" id="{46FDA764-09E0-4AE5-A7D6-E8108AF4BD0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72600" y="5088684"/>
            <a:ext cx="1981200" cy="1096216"/>
          </a:xfrm>
        </p:spPr>
        <p:txBody>
          <a:bodyPr anchor="t">
            <a:norm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Content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D313F48D-B9C9-4B62-B5E1-CD3F0164A0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0651" y="1980568"/>
            <a:ext cx="477899" cy="477899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EE3E2A91-1907-45A5-8D0A-51DF61C71BE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3800" y="2021843"/>
            <a:ext cx="457200" cy="4572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A129096C-654E-4B96-BB76-3974044372A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00438" y="1980569"/>
            <a:ext cx="456727" cy="456727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0A894E0D-7BD7-457D-B7ED-E4BCB9F7F9A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4600" y="1979192"/>
            <a:ext cx="457200" cy="45720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97DC9991-B408-42EC-8939-C1EA8E5916F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7400" y="1992481"/>
            <a:ext cx="457200" cy="45720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14002786-6962-44B5-890D-2012497FD4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0651" y="4266568"/>
            <a:ext cx="477899" cy="477899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A9BD8610-DEC6-4E8D-BE69-89446631C4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3800" y="4307843"/>
            <a:ext cx="457200" cy="457200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CDF090C2-CDBF-4FB9-8BA3-1049D893775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00438" y="4266569"/>
            <a:ext cx="456727" cy="456727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82D53716-86CE-4D56-8169-D18E015222B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4600" y="4265192"/>
            <a:ext cx="457200" cy="457200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002EFBCF-58B1-44C9-B8EC-7B951256E3C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7400" y="4278481"/>
            <a:ext cx="4572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700709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with 3 placeho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B478C8-9A68-41B1-BFAC-D0E51BC849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3A9C3C4-2162-4B4D-8E1A-6A9D883AB6E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798640"/>
            <a:ext cx="4053840" cy="4375029"/>
          </a:xfrm>
        </p:spPr>
        <p:txBody>
          <a:bodyPr/>
          <a:lstStyle/>
          <a:p>
            <a:endParaRPr lang="en-IN" dirty="0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0D4EF7F4-2D79-496D-A188-34D56CDF85D7}"/>
              </a:ext>
            </a:extLst>
          </p:cNvPr>
          <p:cNvCxnSpPr>
            <a:cxnSpLocks/>
          </p:cNvCxnSpPr>
          <p:nvPr userDrawn="1"/>
        </p:nvCxnSpPr>
        <p:spPr>
          <a:xfrm>
            <a:off x="4360785" y="3193452"/>
            <a:ext cx="699301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E6700C6-5F4D-4E1A-A8BC-34B01C2F81EF}"/>
              </a:ext>
            </a:extLst>
          </p:cNvPr>
          <p:cNvCxnSpPr>
            <a:cxnSpLocks/>
          </p:cNvCxnSpPr>
          <p:nvPr userDrawn="1"/>
        </p:nvCxnSpPr>
        <p:spPr>
          <a:xfrm>
            <a:off x="4360785" y="4762993"/>
            <a:ext cx="699301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AF4D647-C49F-4F6C-9028-2209823B28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54600" y="1798640"/>
            <a:ext cx="6299200" cy="1220087"/>
          </a:xfrm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FF04BA8D-D4D7-4D15-BCF5-6B4FA189E6C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54600" y="3368181"/>
            <a:ext cx="6299200" cy="1220087"/>
          </a:xfrm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A6157A7E-FB66-4C9A-A9CE-080B5D78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54600" y="4937722"/>
            <a:ext cx="6299200" cy="1220087"/>
          </a:xfrm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onten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4FBA40F-D1E3-46FF-9E23-D9293F7C71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87317" y="5324909"/>
            <a:ext cx="477899" cy="47789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5CD1F9E-84BE-4DA5-95AB-1DFDB4BDC1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97903" y="2228587"/>
            <a:ext cx="456727" cy="45672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79D8D98-C8BA-44CE-8E01-48FA7F34CD2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7667" y="3773757"/>
            <a:ext cx="4572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823368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with 4 placeho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B478C8-9A68-41B1-BFAC-D0E51BC849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3A9C3C4-2162-4B4D-8E1A-6A9D883AB6E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798640"/>
            <a:ext cx="4053840" cy="4375031"/>
          </a:xfrm>
        </p:spPr>
        <p:txBody>
          <a:bodyPr/>
          <a:lstStyle/>
          <a:p>
            <a:endParaRPr lang="en-IN" dirty="0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0D4EF7F4-2D79-496D-A188-34D56CDF85D7}"/>
              </a:ext>
            </a:extLst>
          </p:cNvPr>
          <p:cNvCxnSpPr>
            <a:cxnSpLocks/>
          </p:cNvCxnSpPr>
          <p:nvPr userDrawn="1"/>
        </p:nvCxnSpPr>
        <p:spPr>
          <a:xfrm>
            <a:off x="4360785" y="2819631"/>
            <a:ext cx="699301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E6700C6-5F4D-4E1A-A8BC-34B01C2F81EF}"/>
              </a:ext>
            </a:extLst>
          </p:cNvPr>
          <p:cNvCxnSpPr>
            <a:cxnSpLocks/>
          </p:cNvCxnSpPr>
          <p:nvPr userDrawn="1"/>
        </p:nvCxnSpPr>
        <p:spPr>
          <a:xfrm>
            <a:off x="4360785" y="3986159"/>
            <a:ext cx="699301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08CFDB8-13CF-481F-A6DE-4210232E8FA9}"/>
              </a:ext>
            </a:extLst>
          </p:cNvPr>
          <p:cNvCxnSpPr>
            <a:cxnSpLocks/>
          </p:cNvCxnSpPr>
          <p:nvPr userDrawn="1"/>
        </p:nvCxnSpPr>
        <p:spPr>
          <a:xfrm>
            <a:off x="4360785" y="5152687"/>
            <a:ext cx="699301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AF4D647-C49F-4F6C-9028-2209823B28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54600" y="1798638"/>
            <a:ext cx="6299200" cy="875458"/>
          </a:xfrm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FF04BA8D-D4D7-4D15-BCF5-6B4FA189E6C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54600" y="2965166"/>
            <a:ext cx="6299200" cy="875458"/>
          </a:xfrm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A6157A7E-FB66-4C9A-A9CE-080B5D78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54600" y="4131694"/>
            <a:ext cx="6299200" cy="875458"/>
          </a:xfrm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1B4D8019-3F52-4307-930D-73DAFBCAB3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54600" y="5298224"/>
            <a:ext cx="6299200" cy="875458"/>
          </a:xfrm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ontent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8609E15-334C-4BB2-9FC2-70E1EF386A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87317" y="5436492"/>
            <a:ext cx="477899" cy="47789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C12BA8E-27F9-4A37-AD2A-0038C7140B6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7667" y="3118901"/>
            <a:ext cx="457200" cy="4572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A19ABCE-2454-4DB1-8C08-77E3B478B98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97903" y="2031369"/>
            <a:ext cx="456727" cy="45672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4DBD236-D81C-4E1F-AA77-69188906EF3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7667" y="4313819"/>
            <a:ext cx="4572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613842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with 5 placeho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B478C8-9A68-41B1-BFAC-D0E51BC849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3A9C3C4-2162-4B4D-8E1A-6A9D883AB6E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798638"/>
            <a:ext cx="4053840" cy="4375032"/>
          </a:xfrm>
        </p:spPr>
        <p:txBody>
          <a:bodyPr/>
          <a:lstStyle/>
          <a:p>
            <a:endParaRPr lang="en-IN" dirty="0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0D4EF7F4-2D79-496D-A188-34D56CDF85D7}"/>
              </a:ext>
            </a:extLst>
          </p:cNvPr>
          <p:cNvCxnSpPr>
            <a:cxnSpLocks/>
          </p:cNvCxnSpPr>
          <p:nvPr userDrawn="1"/>
        </p:nvCxnSpPr>
        <p:spPr>
          <a:xfrm>
            <a:off x="4360785" y="2614004"/>
            <a:ext cx="699301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E6700C6-5F4D-4E1A-A8BC-34B01C2F81EF}"/>
              </a:ext>
            </a:extLst>
          </p:cNvPr>
          <p:cNvCxnSpPr>
            <a:cxnSpLocks/>
          </p:cNvCxnSpPr>
          <p:nvPr userDrawn="1"/>
        </p:nvCxnSpPr>
        <p:spPr>
          <a:xfrm>
            <a:off x="4360785" y="3528774"/>
            <a:ext cx="699301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08CFDB8-13CF-481F-A6DE-4210232E8FA9}"/>
              </a:ext>
            </a:extLst>
          </p:cNvPr>
          <p:cNvCxnSpPr>
            <a:cxnSpLocks/>
          </p:cNvCxnSpPr>
          <p:nvPr userDrawn="1"/>
        </p:nvCxnSpPr>
        <p:spPr>
          <a:xfrm>
            <a:off x="4360785" y="4443544"/>
            <a:ext cx="699301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394CCAE0-8532-42B0-B010-14610E7A9764}"/>
              </a:ext>
            </a:extLst>
          </p:cNvPr>
          <p:cNvCxnSpPr>
            <a:cxnSpLocks/>
          </p:cNvCxnSpPr>
          <p:nvPr userDrawn="1"/>
        </p:nvCxnSpPr>
        <p:spPr>
          <a:xfrm>
            <a:off x="4360785" y="5358314"/>
            <a:ext cx="699301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AF4D647-C49F-4F6C-9028-2209823B28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54600" y="1798638"/>
            <a:ext cx="6299200" cy="715962"/>
          </a:xfrm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FF04BA8D-D4D7-4D15-BCF5-6B4FA189E6C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54600" y="2713408"/>
            <a:ext cx="6299200" cy="715962"/>
          </a:xfrm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A6157A7E-FB66-4C9A-A9CE-080B5D78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54600" y="3628178"/>
            <a:ext cx="6299200" cy="715962"/>
          </a:xfrm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1B4D8019-3F52-4307-930D-73DAFBCAB3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54600" y="4542948"/>
            <a:ext cx="6299200" cy="715962"/>
          </a:xfrm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39DD5E83-ECDC-4E1B-BC8E-EA0547CDF1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54600" y="5457720"/>
            <a:ext cx="6299200" cy="715962"/>
          </a:xfrm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ontent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5EAA076-01A8-43EB-81D0-859D7622F2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87317" y="4621152"/>
            <a:ext cx="477899" cy="4778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CCE6AB5-0E07-483F-BD41-7209AFD9F30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7667" y="2821721"/>
            <a:ext cx="457200" cy="4572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AAC369FF-4FAF-4CE5-8F9B-6FAB8902BFB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97903" y="1917069"/>
            <a:ext cx="456727" cy="45672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B624D11-E20D-4D00-8602-EFAE604C6A2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7667" y="5561099"/>
            <a:ext cx="457200" cy="4572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8E41868-0A24-44BD-ADD7-694C50B0D68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7667" y="3757559"/>
            <a:ext cx="4572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504989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ayout with sub title and 4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B478C8-9A68-41B1-BFAC-D0E51BC849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9236" y="365127"/>
            <a:ext cx="499456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FC98583-2867-4423-9E0F-4AB2FA657839}"/>
              </a:ext>
            </a:extLst>
          </p:cNvPr>
          <p:cNvSpPr txBox="1">
            <a:spLocks/>
          </p:cNvSpPr>
          <p:nvPr userDrawn="1"/>
        </p:nvSpPr>
        <p:spPr>
          <a:xfrm>
            <a:off x="1" y="4501089"/>
            <a:ext cx="12191999" cy="114510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822960" rIns="82296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Wingdings" panose="05000000000000000000" pitchFamily="2" charset="2"/>
              <a:buNone/>
            </a:pPr>
            <a:endParaRPr lang="en-US" sz="2000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BA4C14C-07B1-4DD0-B53B-D09023FBBA02}"/>
              </a:ext>
            </a:extLst>
          </p:cNvPr>
          <p:cNvCxnSpPr>
            <a:cxnSpLocks/>
          </p:cNvCxnSpPr>
          <p:nvPr userDrawn="1"/>
        </p:nvCxnSpPr>
        <p:spPr>
          <a:xfrm>
            <a:off x="1624011" y="3374901"/>
            <a:ext cx="914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1EF023B6-9A28-425D-9031-E8D5BF13654D}"/>
              </a:ext>
            </a:extLst>
          </p:cNvPr>
          <p:cNvCxnSpPr>
            <a:cxnSpLocks/>
          </p:cNvCxnSpPr>
          <p:nvPr userDrawn="1"/>
        </p:nvCxnSpPr>
        <p:spPr>
          <a:xfrm>
            <a:off x="4295244" y="3374901"/>
            <a:ext cx="914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7413D245-1A74-415F-A417-13F11BAC2E09}"/>
              </a:ext>
            </a:extLst>
          </p:cNvPr>
          <p:cNvCxnSpPr>
            <a:cxnSpLocks/>
          </p:cNvCxnSpPr>
          <p:nvPr userDrawn="1"/>
        </p:nvCxnSpPr>
        <p:spPr>
          <a:xfrm>
            <a:off x="6966477" y="3374901"/>
            <a:ext cx="914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406F7DB-E60E-425D-BA47-783328BC9B63}"/>
              </a:ext>
            </a:extLst>
          </p:cNvPr>
          <p:cNvCxnSpPr>
            <a:cxnSpLocks/>
          </p:cNvCxnSpPr>
          <p:nvPr userDrawn="1"/>
        </p:nvCxnSpPr>
        <p:spPr>
          <a:xfrm>
            <a:off x="9637711" y="3374901"/>
            <a:ext cx="914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0211A19-0A89-4F57-9CF9-F712198F3B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5026" y="3567745"/>
            <a:ext cx="2492375" cy="514350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Title</a:t>
            </a:r>
            <a:endParaRPr lang="en-IN" dirty="0"/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7C2194F8-257E-4AB3-9B11-4F42AB932A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06258" y="3567745"/>
            <a:ext cx="2492375" cy="514350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Title</a:t>
            </a:r>
            <a:endParaRPr lang="en-IN" dirty="0"/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0CA0A541-503D-43F8-8CAE-80863FFEE9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77491" y="3567745"/>
            <a:ext cx="2492375" cy="514350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Title</a:t>
            </a:r>
            <a:endParaRPr lang="en-IN" dirty="0"/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D8803C21-4BC7-4BA3-8DC1-68DB121A00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848726" y="3567745"/>
            <a:ext cx="2492375" cy="514350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Title</a:t>
            </a:r>
            <a:endParaRPr lang="en-IN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0ACBAB6-B8EE-4934-8E4A-86C71C6F732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5501" y="4501610"/>
            <a:ext cx="10515600" cy="1144587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/>
              <a:t>Sub tit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FA7A77B-BB1F-4935-A005-13C470E7C9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22617" y="2699155"/>
            <a:ext cx="544591" cy="54459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B0EAF6C2-07AD-4504-9436-6A564F7C104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1944" y="2722742"/>
            <a:ext cx="521003" cy="52100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A46B039C-F992-47B7-9D9B-3AE56D8CE51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20982" y="2723283"/>
            <a:ext cx="520463" cy="52046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755EB39-4C62-4969-A9D9-7D117F27E4A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3177" y="2722742"/>
            <a:ext cx="521003" cy="521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702952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Layout with sub title and 4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B478C8-9A68-41B1-BFAC-D0E51BC849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FC98583-2867-4423-9E0F-4AB2FA657839}"/>
              </a:ext>
            </a:extLst>
          </p:cNvPr>
          <p:cNvSpPr txBox="1">
            <a:spLocks/>
          </p:cNvSpPr>
          <p:nvPr userDrawn="1"/>
        </p:nvSpPr>
        <p:spPr>
          <a:xfrm>
            <a:off x="2" y="1817689"/>
            <a:ext cx="12191999" cy="114510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822960" rIns="82296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Wingdings" panose="05000000000000000000" pitchFamily="2" charset="2"/>
              <a:buNone/>
            </a:pPr>
            <a:endParaRPr lang="en-US" sz="2000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BA4C14C-07B1-4DD0-B53B-D09023FBBA02}"/>
              </a:ext>
            </a:extLst>
          </p:cNvPr>
          <p:cNvCxnSpPr>
            <a:cxnSpLocks/>
          </p:cNvCxnSpPr>
          <p:nvPr userDrawn="1"/>
        </p:nvCxnSpPr>
        <p:spPr>
          <a:xfrm>
            <a:off x="1624011" y="3948485"/>
            <a:ext cx="914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1EF023B6-9A28-425D-9031-E8D5BF13654D}"/>
              </a:ext>
            </a:extLst>
          </p:cNvPr>
          <p:cNvCxnSpPr>
            <a:cxnSpLocks/>
          </p:cNvCxnSpPr>
          <p:nvPr userDrawn="1"/>
        </p:nvCxnSpPr>
        <p:spPr>
          <a:xfrm>
            <a:off x="4295244" y="3948485"/>
            <a:ext cx="914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7413D245-1A74-415F-A417-13F11BAC2E09}"/>
              </a:ext>
            </a:extLst>
          </p:cNvPr>
          <p:cNvCxnSpPr>
            <a:cxnSpLocks/>
          </p:cNvCxnSpPr>
          <p:nvPr userDrawn="1"/>
        </p:nvCxnSpPr>
        <p:spPr>
          <a:xfrm>
            <a:off x="6966477" y="3948485"/>
            <a:ext cx="914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406F7DB-E60E-425D-BA47-783328BC9B63}"/>
              </a:ext>
            </a:extLst>
          </p:cNvPr>
          <p:cNvCxnSpPr>
            <a:cxnSpLocks/>
          </p:cNvCxnSpPr>
          <p:nvPr userDrawn="1"/>
        </p:nvCxnSpPr>
        <p:spPr>
          <a:xfrm>
            <a:off x="9637711" y="3948485"/>
            <a:ext cx="914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0211A19-0A89-4F57-9CF9-F712198F3B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5026" y="4141329"/>
            <a:ext cx="2492375" cy="514350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Title</a:t>
            </a:r>
            <a:endParaRPr lang="en-IN" dirty="0"/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164F5A58-3EFE-4EA8-9BB4-638AD05C13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5026" y="4725529"/>
            <a:ext cx="2492375" cy="1476834"/>
          </a:xfrm>
        </p:spPr>
        <p:txBody>
          <a:bodyPr>
            <a:normAutofit/>
          </a:bodyPr>
          <a:lstStyle>
            <a:lvl1pPr marL="0" indent="0" algn="ctr">
              <a:buNone/>
              <a:defRPr sz="2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  <a:endParaRPr lang="en-IN" dirty="0"/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7C2194F8-257E-4AB3-9B11-4F42AB932A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06258" y="4141329"/>
            <a:ext cx="2492375" cy="514350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Title</a:t>
            </a:r>
            <a:endParaRPr lang="en-IN" dirty="0"/>
          </a:p>
        </p:txBody>
      </p:sp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C771B004-8C81-45B7-9DC9-3BFE10713BD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06258" y="4725529"/>
            <a:ext cx="2492375" cy="1476834"/>
          </a:xfrm>
        </p:spPr>
        <p:txBody>
          <a:bodyPr>
            <a:normAutofit/>
          </a:bodyPr>
          <a:lstStyle>
            <a:lvl1pPr marL="0" indent="0" algn="ctr">
              <a:buNone/>
              <a:defRPr sz="2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  <a:endParaRPr lang="en-IN" dirty="0"/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0CA0A541-503D-43F8-8CAE-80863FFEE9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77491" y="4141329"/>
            <a:ext cx="2492375" cy="514350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Title</a:t>
            </a:r>
            <a:endParaRPr lang="en-IN" dirty="0"/>
          </a:p>
        </p:txBody>
      </p:sp>
      <p:sp>
        <p:nvSpPr>
          <p:cNvPr id="39" name="Text Placeholder 5">
            <a:extLst>
              <a:ext uri="{FF2B5EF4-FFF2-40B4-BE49-F238E27FC236}">
                <a16:creationId xmlns:a16="http://schemas.microsoft.com/office/drawing/2014/main" id="{7E47B8CF-E28E-4A5B-8427-51051D4FE8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77491" y="4725529"/>
            <a:ext cx="2492375" cy="1476834"/>
          </a:xfrm>
        </p:spPr>
        <p:txBody>
          <a:bodyPr>
            <a:normAutofit/>
          </a:bodyPr>
          <a:lstStyle>
            <a:lvl1pPr marL="0" indent="0" algn="ctr">
              <a:buNone/>
              <a:defRPr sz="2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  <a:endParaRPr lang="en-IN" dirty="0"/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D8803C21-4BC7-4BA3-8DC1-68DB121A00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848726" y="4141329"/>
            <a:ext cx="2492375" cy="514350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Title</a:t>
            </a:r>
            <a:endParaRPr lang="en-IN" dirty="0"/>
          </a:p>
        </p:txBody>
      </p:sp>
      <p:sp>
        <p:nvSpPr>
          <p:cNvPr id="41" name="Text Placeholder 5">
            <a:extLst>
              <a:ext uri="{FF2B5EF4-FFF2-40B4-BE49-F238E27FC236}">
                <a16:creationId xmlns:a16="http://schemas.microsoft.com/office/drawing/2014/main" id="{5DA94CCB-17B8-4DE0-908D-0958E480308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48726" y="4725529"/>
            <a:ext cx="2492375" cy="1476834"/>
          </a:xfrm>
        </p:spPr>
        <p:txBody>
          <a:bodyPr>
            <a:normAutofit/>
          </a:bodyPr>
          <a:lstStyle>
            <a:lvl1pPr marL="0" indent="0" algn="ctr">
              <a:buNone/>
              <a:defRPr sz="2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  <a:endParaRPr lang="en-IN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0ACBAB6-B8EE-4934-8E4A-86C71C6F732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0900" y="1817690"/>
            <a:ext cx="10515600" cy="1144587"/>
          </a:xfrm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Sub title</a:t>
            </a:r>
          </a:p>
        </p:txBody>
      </p:sp>
    </p:spTree>
    <p:extLst>
      <p:ext uri="{BB962C8B-B14F-4D97-AF65-F5344CB8AC3E}">
        <p14:creationId xmlns:p14="http://schemas.microsoft.com/office/powerpoint/2010/main" val="130935649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Layout with sub title and 4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B478C8-9A68-41B1-BFAC-D0E51BC849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9236" y="365127"/>
            <a:ext cx="499456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FC98583-2867-4423-9E0F-4AB2FA657839}"/>
              </a:ext>
            </a:extLst>
          </p:cNvPr>
          <p:cNvSpPr txBox="1">
            <a:spLocks/>
          </p:cNvSpPr>
          <p:nvPr userDrawn="1"/>
        </p:nvSpPr>
        <p:spPr>
          <a:xfrm>
            <a:off x="1" y="4501089"/>
            <a:ext cx="12191999" cy="114510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822960" rIns="82296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Wingdings" panose="05000000000000000000" pitchFamily="2" charset="2"/>
              <a:buNone/>
            </a:pPr>
            <a:endParaRPr lang="en-US" sz="200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0211A19-0A89-4F57-9CF9-F712198F3B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5026" y="3567745"/>
            <a:ext cx="2492375" cy="514350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Title</a:t>
            </a:r>
            <a:endParaRPr lang="en-IN" dirty="0"/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7C2194F8-257E-4AB3-9B11-4F42AB932A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06258" y="3567745"/>
            <a:ext cx="2492375" cy="514350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Title</a:t>
            </a:r>
            <a:endParaRPr lang="en-IN" dirty="0"/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0CA0A541-503D-43F8-8CAE-80863FFEE9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77491" y="3567745"/>
            <a:ext cx="2492375" cy="514350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Title</a:t>
            </a:r>
            <a:endParaRPr lang="en-IN" dirty="0"/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D8803C21-4BC7-4BA3-8DC1-68DB121A00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848726" y="3567745"/>
            <a:ext cx="2492375" cy="514350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Title</a:t>
            </a:r>
            <a:endParaRPr lang="en-IN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0ACBAB6-B8EE-4934-8E4A-86C71C6F732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5501" y="4501610"/>
            <a:ext cx="10515600" cy="1144587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/>
              <a:t>Sub title</a:t>
            </a:r>
          </a:p>
        </p:txBody>
      </p:sp>
    </p:spTree>
    <p:extLst>
      <p:ext uri="{BB962C8B-B14F-4D97-AF65-F5344CB8AC3E}">
        <p14:creationId xmlns:p14="http://schemas.microsoft.com/office/powerpoint/2010/main" val="298505278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image Layout  with 2 content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5E01784A-5CE8-439C-A23F-7AB5D929ECB5}"/>
              </a:ext>
            </a:extLst>
          </p:cNvPr>
          <p:cNvSpPr/>
          <p:nvPr userDrawn="1"/>
        </p:nvSpPr>
        <p:spPr>
          <a:xfrm>
            <a:off x="0" y="6638207"/>
            <a:ext cx="6052453" cy="2197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pic>
        <p:nvPicPr>
          <p:cNvPr id="2" name="Picture 1" descr="A picture containing dart, pinwheel&#10;&#10;Description automatically generated">
            <a:extLst>
              <a:ext uri="{FF2B5EF4-FFF2-40B4-BE49-F238E27FC236}">
                <a16:creationId xmlns:a16="http://schemas.microsoft.com/office/drawing/2014/main" id="{33EA5099-41CF-4F35-8245-A0495EA28F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rcRect l="36438" r="27393"/>
          <a:stretch/>
        </p:blipFill>
        <p:spPr>
          <a:xfrm>
            <a:off x="0" y="0"/>
            <a:ext cx="3721608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C87C0F72-B09B-4521-817D-419EAD35DAB1}"/>
              </a:ext>
            </a:extLst>
          </p:cNvPr>
          <p:cNvSpPr/>
          <p:nvPr userDrawn="1"/>
        </p:nvSpPr>
        <p:spPr>
          <a:xfrm>
            <a:off x="0" y="0"/>
            <a:ext cx="3721608" cy="6858000"/>
          </a:xfrm>
          <a:prstGeom prst="rect">
            <a:avLst/>
          </a:prstGeom>
          <a:solidFill>
            <a:schemeClr val="bg1">
              <a:alpha val="6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IN" sz="1400" b="1" dirty="0">
              <a:solidFill>
                <a:prstClr val="white"/>
              </a:solidFill>
              <a:latin typeface="Calibri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84F0E88-AC45-4564-8FA0-80235916422F}"/>
              </a:ext>
            </a:extLst>
          </p:cNvPr>
          <p:cNvGrpSpPr/>
          <p:nvPr userDrawn="1"/>
        </p:nvGrpSpPr>
        <p:grpSpPr>
          <a:xfrm>
            <a:off x="10670876" y="235"/>
            <a:ext cx="1521125" cy="137160"/>
            <a:chOff x="85490" y="5421819"/>
            <a:chExt cx="9411633" cy="295508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28D44CD2-E76E-4FA0-A435-C6FC64AC6F4C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7137835-8FC9-4B15-B49F-1A024E9EBE66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9414827-27FF-4482-8902-1A54DEB10BB5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6AF728D9-0A38-45D2-BC65-6DBB4611E5A4}"/>
              </a:ext>
            </a:extLst>
          </p:cNvPr>
          <p:cNvGrpSpPr/>
          <p:nvPr userDrawn="1"/>
        </p:nvGrpSpPr>
        <p:grpSpPr>
          <a:xfrm>
            <a:off x="3907552" y="819125"/>
            <a:ext cx="652669" cy="45719"/>
            <a:chOff x="85490" y="5421819"/>
            <a:chExt cx="9411633" cy="295508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4D2991C-5534-41C1-A41D-4EFB204F7769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BA4C3B6-34E0-4F31-BAA7-4D8399731FD2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5246B88-5EC3-4EA2-9DCB-26AE0184AF85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D4A46635-714B-4F74-AFC1-EDA5E8732116}"/>
              </a:ext>
            </a:extLst>
          </p:cNvPr>
          <p:cNvCxnSpPr>
            <a:cxnSpLocks/>
          </p:cNvCxnSpPr>
          <p:nvPr userDrawn="1"/>
        </p:nvCxnSpPr>
        <p:spPr>
          <a:xfrm>
            <a:off x="7620773" y="971550"/>
            <a:ext cx="0" cy="5230813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Picture 25">
            <a:extLst>
              <a:ext uri="{FF2B5EF4-FFF2-40B4-BE49-F238E27FC236}">
                <a16:creationId xmlns:a16="http://schemas.microsoft.com/office/drawing/2014/main" id="{B6CEFF4B-A97B-4E54-9214-72BD9A2FC3B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51799" y="6357889"/>
            <a:ext cx="896112" cy="280316"/>
          </a:xfrm>
          <a:prstGeom prst="rect">
            <a:avLst/>
          </a:prstGeom>
        </p:spPr>
      </p:pic>
      <p:sp>
        <p:nvSpPr>
          <p:cNvPr id="28" name="Title 27">
            <a:extLst>
              <a:ext uri="{FF2B5EF4-FFF2-40B4-BE49-F238E27FC236}">
                <a16:creationId xmlns:a16="http://schemas.microsoft.com/office/drawing/2014/main" id="{CFA80FC1-3D3D-41EB-8164-A140DAFCA118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33112" y="365127"/>
            <a:ext cx="3022888" cy="1325563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Slide</a:t>
            </a:r>
            <a:br>
              <a:rPr lang="en-US" dirty="0"/>
            </a:br>
            <a:r>
              <a:rPr lang="en-US" dirty="0"/>
              <a:t>Title</a:t>
            </a:r>
            <a:endParaRPr lang="en-IN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D291A8AF-57D1-4EBB-ABA3-D6358EB59D64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888503" y="1381124"/>
            <a:ext cx="3542884" cy="4821239"/>
          </a:xfrm>
        </p:spPr>
        <p:txBody>
          <a:bodyPr lIns="0" tIns="0" rIns="0" bIns="0">
            <a:normAutofit/>
          </a:bodyPr>
          <a:lstStyle>
            <a:lvl1pPr marL="190495" indent="-190495"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Bullet</a:t>
            </a:r>
            <a:endParaRPr lang="en-IN" dirty="0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D4541A5B-6F3A-4D88-9831-8218FD1CFEB7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888503" y="971550"/>
            <a:ext cx="3525536" cy="247650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ontent</a:t>
            </a:r>
            <a:endParaRPr lang="en-IN" dirty="0"/>
          </a:p>
        </p:txBody>
      </p:sp>
      <p:sp>
        <p:nvSpPr>
          <p:cNvPr id="35" name="Text Placeholder 29">
            <a:extLst>
              <a:ext uri="{FF2B5EF4-FFF2-40B4-BE49-F238E27FC236}">
                <a16:creationId xmlns:a16="http://schemas.microsoft.com/office/drawing/2014/main" id="{29A54534-30BA-4A3B-9197-21AD37202C59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7810163" y="1381124"/>
            <a:ext cx="3542884" cy="4821239"/>
          </a:xfrm>
        </p:spPr>
        <p:txBody>
          <a:bodyPr lIns="0" tIns="0" rIns="0" bIns="0">
            <a:normAutofit/>
          </a:bodyPr>
          <a:lstStyle>
            <a:lvl1pPr marL="190495" indent="-190495"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Bullet</a:t>
            </a:r>
            <a:endParaRPr lang="en-IN" dirty="0"/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B48EE3AD-9762-4761-90E2-D6C64D157E32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7815753" y="971550"/>
            <a:ext cx="3525536" cy="247650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ontent</a:t>
            </a:r>
            <a:endParaRPr lang="en-IN" dirty="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ADB6A42E-356B-4E6C-8CA6-2F9D4C856D6B}"/>
              </a:ext>
            </a:extLst>
          </p:cNvPr>
          <p:cNvGrpSpPr/>
          <p:nvPr userDrawn="1"/>
        </p:nvGrpSpPr>
        <p:grpSpPr>
          <a:xfrm>
            <a:off x="7815754" y="819125"/>
            <a:ext cx="652669" cy="45719"/>
            <a:chOff x="85490" y="5421819"/>
            <a:chExt cx="9411633" cy="295508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16919273-3DFE-4B42-896C-514C63503D14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41FC7B72-ED5F-4493-9297-8E097A09D081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2005C832-27E4-4005-AFA6-71716931998B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7348754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image Layout  with 3 content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5E01784A-5CE8-439C-A23F-7AB5D929ECB5}"/>
              </a:ext>
            </a:extLst>
          </p:cNvPr>
          <p:cNvSpPr/>
          <p:nvPr userDrawn="1"/>
        </p:nvSpPr>
        <p:spPr>
          <a:xfrm>
            <a:off x="0" y="6638207"/>
            <a:ext cx="6052453" cy="2197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pic>
        <p:nvPicPr>
          <p:cNvPr id="2" name="Picture 1" descr="A picture containing dart, pinwheel&#10;&#10;Description automatically generated">
            <a:extLst>
              <a:ext uri="{FF2B5EF4-FFF2-40B4-BE49-F238E27FC236}">
                <a16:creationId xmlns:a16="http://schemas.microsoft.com/office/drawing/2014/main" id="{33EA5099-41CF-4F35-8245-A0495EA28F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rcRect l="36438" r="27393"/>
          <a:stretch/>
        </p:blipFill>
        <p:spPr>
          <a:xfrm>
            <a:off x="0" y="0"/>
            <a:ext cx="3721608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C87C0F72-B09B-4521-817D-419EAD35DAB1}"/>
              </a:ext>
            </a:extLst>
          </p:cNvPr>
          <p:cNvSpPr/>
          <p:nvPr userDrawn="1"/>
        </p:nvSpPr>
        <p:spPr>
          <a:xfrm>
            <a:off x="0" y="0"/>
            <a:ext cx="3721608" cy="6858000"/>
          </a:xfrm>
          <a:prstGeom prst="rect">
            <a:avLst/>
          </a:prstGeom>
          <a:solidFill>
            <a:schemeClr val="bg1">
              <a:alpha val="6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IN" sz="1400" b="1" dirty="0">
              <a:solidFill>
                <a:prstClr val="white"/>
              </a:solidFill>
              <a:latin typeface="Calibri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84F0E88-AC45-4564-8FA0-80235916422F}"/>
              </a:ext>
            </a:extLst>
          </p:cNvPr>
          <p:cNvGrpSpPr/>
          <p:nvPr userDrawn="1"/>
        </p:nvGrpSpPr>
        <p:grpSpPr>
          <a:xfrm>
            <a:off x="10670876" y="235"/>
            <a:ext cx="1521125" cy="137160"/>
            <a:chOff x="85490" y="5421819"/>
            <a:chExt cx="9411633" cy="295508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28D44CD2-E76E-4FA0-A435-C6FC64AC6F4C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7137835-8FC9-4B15-B49F-1A024E9EBE66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9414827-27FF-4482-8902-1A54DEB10BB5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6AF728D9-0A38-45D2-BC65-6DBB4611E5A4}"/>
              </a:ext>
            </a:extLst>
          </p:cNvPr>
          <p:cNvGrpSpPr/>
          <p:nvPr userDrawn="1"/>
        </p:nvGrpSpPr>
        <p:grpSpPr>
          <a:xfrm>
            <a:off x="3907552" y="819125"/>
            <a:ext cx="652669" cy="45719"/>
            <a:chOff x="85490" y="5421819"/>
            <a:chExt cx="9411633" cy="295508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4D2991C-5534-41C1-A41D-4EFB204F7769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BA4C3B6-34E0-4F31-BAA7-4D8399731FD2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5246B88-5EC3-4EA2-9DCB-26AE0184AF85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D4A46635-714B-4F74-AFC1-EDA5E8732116}"/>
              </a:ext>
            </a:extLst>
          </p:cNvPr>
          <p:cNvCxnSpPr>
            <a:cxnSpLocks/>
          </p:cNvCxnSpPr>
          <p:nvPr userDrawn="1"/>
        </p:nvCxnSpPr>
        <p:spPr>
          <a:xfrm>
            <a:off x="6325751" y="971550"/>
            <a:ext cx="0" cy="5230813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FF72813-75B0-423E-BEEE-52C1A567F77F}"/>
              </a:ext>
            </a:extLst>
          </p:cNvPr>
          <p:cNvCxnSpPr>
            <a:cxnSpLocks/>
          </p:cNvCxnSpPr>
          <p:nvPr userDrawn="1"/>
        </p:nvCxnSpPr>
        <p:spPr>
          <a:xfrm>
            <a:off x="8916551" y="971550"/>
            <a:ext cx="0" cy="5230813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Picture 25">
            <a:extLst>
              <a:ext uri="{FF2B5EF4-FFF2-40B4-BE49-F238E27FC236}">
                <a16:creationId xmlns:a16="http://schemas.microsoft.com/office/drawing/2014/main" id="{B6CEFF4B-A97B-4E54-9214-72BD9A2FC3B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51799" y="6357889"/>
            <a:ext cx="896112" cy="280316"/>
          </a:xfrm>
          <a:prstGeom prst="rect">
            <a:avLst/>
          </a:prstGeom>
        </p:spPr>
      </p:pic>
      <p:sp>
        <p:nvSpPr>
          <p:cNvPr id="28" name="Title 27">
            <a:extLst>
              <a:ext uri="{FF2B5EF4-FFF2-40B4-BE49-F238E27FC236}">
                <a16:creationId xmlns:a16="http://schemas.microsoft.com/office/drawing/2014/main" id="{CFA80FC1-3D3D-41EB-8164-A140DAFCA118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33112" y="365127"/>
            <a:ext cx="3022888" cy="1325563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Slide</a:t>
            </a:r>
            <a:br>
              <a:rPr lang="en-US" dirty="0"/>
            </a:br>
            <a:r>
              <a:rPr lang="en-US" dirty="0"/>
              <a:t>Title</a:t>
            </a:r>
            <a:endParaRPr lang="en-IN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D291A8AF-57D1-4EBB-ABA3-D6358EB59D64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888501" y="1381124"/>
            <a:ext cx="2283699" cy="4821239"/>
          </a:xfrm>
        </p:spPr>
        <p:txBody>
          <a:bodyPr lIns="0" tIns="0" rIns="0" bIns="0">
            <a:normAutofit/>
          </a:bodyPr>
          <a:lstStyle>
            <a:lvl1pPr marL="190495" indent="-190495"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Bullet</a:t>
            </a:r>
            <a:endParaRPr lang="en-IN" dirty="0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D4541A5B-6F3A-4D88-9831-8218FD1CFEB7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888503" y="971550"/>
            <a:ext cx="2272516" cy="247650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ontent</a:t>
            </a:r>
            <a:endParaRPr lang="en-IN" dirty="0"/>
          </a:p>
        </p:txBody>
      </p:sp>
      <p:sp>
        <p:nvSpPr>
          <p:cNvPr id="35" name="Text Placeholder 29">
            <a:extLst>
              <a:ext uri="{FF2B5EF4-FFF2-40B4-BE49-F238E27FC236}">
                <a16:creationId xmlns:a16="http://schemas.microsoft.com/office/drawing/2014/main" id="{29A54534-30BA-4A3B-9197-21AD37202C59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6479301" y="1381124"/>
            <a:ext cx="2283699" cy="4821239"/>
          </a:xfrm>
        </p:spPr>
        <p:txBody>
          <a:bodyPr lIns="0" tIns="0" rIns="0" bIns="0">
            <a:normAutofit/>
          </a:bodyPr>
          <a:lstStyle>
            <a:lvl1pPr marL="190495" indent="-190495"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Bullet</a:t>
            </a:r>
            <a:endParaRPr lang="en-IN" dirty="0"/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B48EE3AD-9762-4761-90E2-D6C64D157E32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484894" y="971550"/>
            <a:ext cx="2272516" cy="247650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ontent</a:t>
            </a:r>
            <a:endParaRPr lang="en-IN" dirty="0"/>
          </a:p>
        </p:txBody>
      </p:sp>
      <p:sp>
        <p:nvSpPr>
          <p:cNvPr id="37" name="Text Placeholder 29">
            <a:extLst>
              <a:ext uri="{FF2B5EF4-FFF2-40B4-BE49-F238E27FC236}">
                <a16:creationId xmlns:a16="http://schemas.microsoft.com/office/drawing/2014/main" id="{9CAF716C-D4D1-4B7A-8BB7-9A9845EA3182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9070101" y="1381124"/>
            <a:ext cx="2283699" cy="4821239"/>
          </a:xfrm>
        </p:spPr>
        <p:txBody>
          <a:bodyPr lIns="0" tIns="0" rIns="0" bIns="0">
            <a:normAutofit/>
          </a:bodyPr>
          <a:lstStyle>
            <a:lvl1pPr marL="190495" indent="-190495"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Bullet</a:t>
            </a:r>
            <a:endParaRPr lang="en-IN" dirty="0"/>
          </a:p>
        </p:txBody>
      </p:sp>
      <p:sp>
        <p:nvSpPr>
          <p:cNvPr id="38" name="Text Placeholder 33">
            <a:extLst>
              <a:ext uri="{FF2B5EF4-FFF2-40B4-BE49-F238E27FC236}">
                <a16:creationId xmlns:a16="http://schemas.microsoft.com/office/drawing/2014/main" id="{43238997-20D0-491D-B3D8-44AC66AA12E3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9070103" y="971550"/>
            <a:ext cx="2272516" cy="247650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ontent</a:t>
            </a:r>
            <a:endParaRPr lang="en-IN" dirty="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ADB6A42E-356B-4E6C-8CA6-2F9D4C856D6B}"/>
              </a:ext>
            </a:extLst>
          </p:cNvPr>
          <p:cNvGrpSpPr/>
          <p:nvPr userDrawn="1"/>
        </p:nvGrpSpPr>
        <p:grpSpPr>
          <a:xfrm>
            <a:off x="6503944" y="819125"/>
            <a:ext cx="652669" cy="45719"/>
            <a:chOff x="85490" y="5421819"/>
            <a:chExt cx="9411633" cy="295508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16919273-3DFE-4B42-896C-514C63503D14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41FC7B72-ED5F-4493-9297-8E097A09D081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2005C832-27E4-4005-AFA6-71716931998B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4243B799-B469-459D-AEF1-BB5A9D64D54A}"/>
              </a:ext>
            </a:extLst>
          </p:cNvPr>
          <p:cNvGrpSpPr/>
          <p:nvPr userDrawn="1"/>
        </p:nvGrpSpPr>
        <p:grpSpPr>
          <a:xfrm>
            <a:off x="9089152" y="819125"/>
            <a:ext cx="652669" cy="45719"/>
            <a:chOff x="85490" y="5421819"/>
            <a:chExt cx="9411633" cy="295508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01FC9E7B-9D60-4D41-9F28-6D5140D8CF03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8B11B014-D08E-4112-B053-FFB8CC5149F7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C7DAFC96-648D-472F-AB99-8ED515A8584C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465094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84931B-C3A6-DC3E-8027-3E0CA5B55B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DBA57F-7285-5F30-98AC-1D539D3253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407DA88-BB65-B0F0-FF2F-C4496FE13AA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E205969-E805-B48D-0BAE-2FDA1244DD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6312C-EAFF-4BED-94F5-BEE52E89B31E}" type="datetimeFigureOut">
              <a:rPr lang="en-US" smtClean="0"/>
              <a:t>2/14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652F6A-D224-D488-C64C-1D0463848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BE65EA1-5F42-3FC0-F8FE-93A2F7F739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EEC150-AE8D-49EF-81A6-13FC777E18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182890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image Layout  with 4 content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5E01784A-5CE8-439C-A23F-7AB5D929ECB5}"/>
              </a:ext>
            </a:extLst>
          </p:cNvPr>
          <p:cNvSpPr/>
          <p:nvPr userDrawn="1"/>
        </p:nvSpPr>
        <p:spPr>
          <a:xfrm>
            <a:off x="0" y="6638207"/>
            <a:ext cx="6052453" cy="2197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pic>
        <p:nvPicPr>
          <p:cNvPr id="2" name="Picture 1" descr="A picture containing dart, pinwheel&#10;&#10;Description automatically generated">
            <a:extLst>
              <a:ext uri="{FF2B5EF4-FFF2-40B4-BE49-F238E27FC236}">
                <a16:creationId xmlns:a16="http://schemas.microsoft.com/office/drawing/2014/main" id="{33EA5099-41CF-4F35-8245-A0495EA28F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rcRect l="36438" r="27393"/>
          <a:stretch/>
        </p:blipFill>
        <p:spPr>
          <a:xfrm>
            <a:off x="0" y="0"/>
            <a:ext cx="3721608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C87C0F72-B09B-4521-817D-419EAD35DAB1}"/>
              </a:ext>
            </a:extLst>
          </p:cNvPr>
          <p:cNvSpPr/>
          <p:nvPr userDrawn="1"/>
        </p:nvSpPr>
        <p:spPr>
          <a:xfrm>
            <a:off x="-5967" y="0"/>
            <a:ext cx="3721608" cy="6858000"/>
          </a:xfrm>
          <a:prstGeom prst="rect">
            <a:avLst/>
          </a:prstGeom>
          <a:solidFill>
            <a:schemeClr val="bg1">
              <a:alpha val="6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IN" sz="1400" b="1" dirty="0">
              <a:solidFill>
                <a:prstClr val="white"/>
              </a:solidFill>
              <a:latin typeface="Calibri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84F0E88-AC45-4564-8FA0-80235916422F}"/>
              </a:ext>
            </a:extLst>
          </p:cNvPr>
          <p:cNvGrpSpPr/>
          <p:nvPr userDrawn="1"/>
        </p:nvGrpSpPr>
        <p:grpSpPr>
          <a:xfrm>
            <a:off x="10670876" y="235"/>
            <a:ext cx="1521125" cy="137160"/>
            <a:chOff x="85490" y="5421819"/>
            <a:chExt cx="9411633" cy="295508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28D44CD2-E76E-4FA0-A435-C6FC64AC6F4C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7137835-8FC9-4B15-B49F-1A024E9EBE66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9414827-27FF-4482-8902-1A54DEB10BB5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6AF728D9-0A38-45D2-BC65-6DBB4611E5A4}"/>
              </a:ext>
            </a:extLst>
          </p:cNvPr>
          <p:cNvGrpSpPr/>
          <p:nvPr userDrawn="1"/>
        </p:nvGrpSpPr>
        <p:grpSpPr>
          <a:xfrm>
            <a:off x="3907552" y="819125"/>
            <a:ext cx="652669" cy="45719"/>
            <a:chOff x="85490" y="5421819"/>
            <a:chExt cx="9411633" cy="295508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4D2991C-5534-41C1-A41D-4EFB204F7769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BA4C3B6-34E0-4F31-BAA7-4D8399731FD2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5246B88-5EC3-4EA2-9DCB-26AE0184AF85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D4A46635-714B-4F74-AFC1-EDA5E8732116}"/>
              </a:ext>
            </a:extLst>
          </p:cNvPr>
          <p:cNvCxnSpPr>
            <a:cxnSpLocks/>
          </p:cNvCxnSpPr>
          <p:nvPr userDrawn="1"/>
        </p:nvCxnSpPr>
        <p:spPr>
          <a:xfrm>
            <a:off x="5685344" y="971550"/>
            <a:ext cx="0" cy="5230813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FF72813-75B0-423E-BEEE-52C1A567F77F}"/>
              </a:ext>
            </a:extLst>
          </p:cNvPr>
          <p:cNvCxnSpPr>
            <a:cxnSpLocks/>
          </p:cNvCxnSpPr>
          <p:nvPr userDrawn="1"/>
        </p:nvCxnSpPr>
        <p:spPr>
          <a:xfrm>
            <a:off x="7626809" y="971550"/>
            <a:ext cx="0" cy="5230813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Picture 25">
            <a:extLst>
              <a:ext uri="{FF2B5EF4-FFF2-40B4-BE49-F238E27FC236}">
                <a16:creationId xmlns:a16="http://schemas.microsoft.com/office/drawing/2014/main" id="{B6CEFF4B-A97B-4E54-9214-72BD9A2FC3B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51799" y="6357889"/>
            <a:ext cx="896112" cy="280316"/>
          </a:xfrm>
          <a:prstGeom prst="rect">
            <a:avLst/>
          </a:prstGeom>
        </p:spPr>
      </p:pic>
      <p:sp>
        <p:nvSpPr>
          <p:cNvPr id="28" name="Title 27">
            <a:extLst>
              <a:ext uri="{FF2B5EF4-FFF2-40B4-BE49-F238E27FC236}">
                <a16:creationId xmlns:a16="http://schemas.microsoft.com/office/drawing/2014/main" id="{CFA80FC1-3D3D-41EB-8164-A140DAFCA118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33112" y="365127"/>
            <a:ext cx="3022888" cy="1325563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Slide</a:t>
            </a:r>
            <a:br>
              <a:rPr lang="en-US" dirty="0"/>
            </a:br>
            <a:r>
              <a:rPr lang="en-US" dirty="0"/>
              <a:t>Title</a:t>
            </a:r>
            <a:endParaRPr lang="en-IN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D291A8AF-57D1-4EBB-ABA3-D6358EB59D64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888503" y="1381124"/>
            <a:ext cx="1652219" cy="4821239"/>
          </a:xfrm>
        </p:spPr>
        <p:txBody>
          <a:bodyPr lIns="0" tIns="0" rIns="0" bIns="0">
            <a:normAutofit/>
          </a:bodyPr>
          <a:lstStyle>
            <a:lvl1pPr marL="190495" indent="-190495"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Bullet</a:t>
            </a:r>
            <a:endParaRPr lang="en-IN" dirty="0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D4541A5B-6F3A-4D88-9831-8218FD1CFEB7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888504" y="971550"/>
            <a:ext cx="1644129" cy="247650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ontent</a:t>
            </a:r>
            <a:endParaRPr lang="en-IN" dirty="0"/>
          </a:p>
        </p:txBody>
      </p:sp>
      <p:sp>
        <p:nvSpPr>
          <p:cNvPr id="35" name="Text Placeholder 29">
            <a:extLst>
              <a:ext uri="{FF2B5EF4-FFF2-40B4-BE49-F238E27FC236}">
                <a16:creationId xmlns:a16="http://schemas.microsoft.com/office/drawing/2014/main" id="{29A54534-30BA-4A3B-9197-21AD37202C59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829968" y="1381124"/>
            <a:ext cx="1652219" cy="4821239"/>
          </a:xfrm>
        </p:spPr>
        <p:txBody>
          <a:bodyPr lIns="0" tIns="0" rIns="0" bIns="0">
            <a:normAutofit/>
          </a:bodyPr>
          <a:lstStyle>
            <a:lvl1pPr marL="190495" indent="-190495"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Bullet</a:t>
            </a:r>
            <a:endParaRPr lang="en-IN" dirty="0"/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B48EE3AD-9762-4761-90E2-D6C64D157E32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829969" y="971550"/>
            <a:ext cx="1644129" cy="247650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ontent</a:t>
            </a:r>
            <a:endParaRPr lang="en-IN" dirty="0"/>
          </a:p>
        </p:txBody>
      </p:sp>
      <p:sp>
        <p:nvSpPr>
          <p:cNvPr id="37" name="Text Placeholder 29">
            <a:extLst>
              <a:ext uri="{FF2B5EF4-FFF2-40B4-BE49-F238E27FC236}">
                <a16:creationId xmlns:a16="http://schemas.microsoft.com/office/drawing/2014/main" id="{9CAF716C-D4D1-4B7A-8BB7-9A9845EA3182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7771433" y="1381124"/>
            <a:ext cx="1652219" cy="4821239"/>
          </a:xfrm>
        </p:spPr>
        <p:txBody>
          <a:bodyPr lIns="0" tIns="0" rIns="0" bIns="0">
            <a:normAutofit/>
          </a:bodyPr>
          <a:lstStyle>
            <a:lvl1pPr marL="190495" indent="-190495"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Bullet</a:t>
            </a:r>
            <a:endParaRPr lang="en-IN" dirty="0"/>
          </a:p>
        </p:txBody>
      </p:sp>
      <p:sp>
        <p:nvSpPr>
          <p:cNvPr id="38" name="Text Placeholder 33">
            <a:extLst>
              <a:ext uri="{FF2B5EF4-FFF2-40B4-BE49-F238E27FC236}">
                <a16:creationId xmlns:a16="http://schemas.microsoft.com/office/drawing/2014/main" id="{43238997-20D0-491D-B3D8-44AC66AA12E3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7771433" y="971550"/>
            <a:ext cx="1644129" cy="247650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ontent</a:t>
            </a:r>
            <a:endParaRPr lang="en-IN" dirty="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ADB6A42E-356B-4E6C-8CA6-2F9D4C856D6B}"/>
              </a:ext>
            </a:extLst>
          </p:cNvPr>
          <p:cNvGrpSpPr/>
          <p:nvPr userDrawn="1"/>
        </p:nvGrpSpPr>
        <p:grpSpPr>
          <a:xfrm>
            <a:off x="5829968" y="819125"/>
            <a:ext cx="652669" cy="45719"/>
            <a:chOff x="85490" y="5421819"/>
            <a:chExt cx="9411633" cy="295508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16919273-3DFE-4B42-896C-514C63503D14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41FC7B72-ED5F-4493-9297-8E097A09D081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2005C832-27E4-4005-AFA6-71716931998B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4243B799-B469-459D-AEF1-BB5A9D64D54A}"/>
              </a:ext>
            </a:extLst>
          </p:cNvPr>
          <p:cNvGrpSpPr/>
          <p:nvPr userDrawn="1"/>
        </p:nvGrpSpPr>
        <p:grpSpPr>
          <a:xfrm>
            <a:off x="7771432" y="819125"/>
            <a:ext cx="652669" cy="45719"/>
            <a:chOff x="85490" y="5421819"/>
            <a:chExt cx="9411633" cy="295508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01FC9E7B-9D60-4D41-9F28-6D5140D8CF03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8B11B014-D08E-4112-B053-FFB8CC5149F7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C7DAFC96-648D-472F-AB99-8ED515A8584C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1" name="Text Placeholder 29">
            <a:extLst>
              <a:ext uri="{FF2B5EF4-FFF2-40B4-BE49-F238E27FC236}">
                <a16:creationId xmlns:a16="http://schemas.microsoft.com/office/drawing/2014/main" id="{53F41FCF-B704-4441-AC55-2A0DE5776A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712899" y="1381124"/>
            <a:ext cx="1652219" cy="4821239"/>
          </a:xfrm>
        </p:spPr>
        <p:txBody>
          <a:bodyPr lIns="0" tIns="0" rIns="0" bIns="0">
            <a:normAutofit/>
          </a:bodyPr>
          <a:lstStyle>
            <a:lvl1pPr marL="190495" indent="-190495"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Bullet</a:t>
            </a:r>
            <a:endParaRPr lang="en-IN" dirty="0"/>
          </a:p>
        </p:txBody>
      </p:sp>
      <p:sp>
        <p:nvSpPr>
          <p:cNvPr id="32" name="Text Placeholder 33">
            <a:extLst>
              <a:ext uri="{FF2B5EF4-FFF2-40B4-BE49-F238E27FC236}">
                <a16:creationId xmlns:a16="http://schemas.microsoft.com/office/drawing/2014/main" id="{93026352-87A3-4EEB-8C39-B11405783B9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712900" y="971550"/>
            <a:ext cx="1644129" cy="247650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ontent</a:t>
            </a:r>
            <a:endParaRPr lang="en-IN" dirty="0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ADBE851D-5C41-44A5-849A-9469D2C4A1ED}"/>
              </a:ext>
            </a:extLst>
          </p:cNvPr>
          <p:cNvGrpSpPr/>
          <p:nvPr userDrawn="1"/>
        </p:nvGrpSpPr>
        <p:grpSpPr>
          <a:xfrm>
            <a:off x="9712899" y="819125"/>
            <a:ext cx="652669" cy="45719"/>
            <a:chOff x="85490" y="5421819"/>
            <a:chExt cx="9411633" cy="295508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9BE7F66B-47A6-4917-8C64-98EEEA1880AA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CF45599E-84B0-451B-8B99-1C3747905423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23E5F749-441A-4AD3-9590-EA066749C72C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647863FE-A945-4FBD-88AD-FD4B55BAD21A}"/>
              </a:ext>
            </a:extLst>
          </p:cNvPr>
          <p:cNvCxnSpPr>
            <a:cxnSpLocks/>
          </p:cNvCxnSpPr>
          <p:nvPr userDrawn="1"/>
        </p:nvCxnSpPr>
        <p:spPr>
          <a:xfrm>
            <a:off x="9568275" y="971550"/>
            <a:ext cx="0" cy="5230813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481160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Layout with 4 content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3C4F631A-D179-434C-B1B0-9604866783E8}"/>
              </a:ext>
            </a:extLst>
          </p:cNvPr>
          <p:cNvGrpSpPr/>
          <p:nvPr userDrawn="1"/>
        </p:nvGrpSpPr>
        <p:grpSpPr>
          <a:xfrm>
            <a:off x="10670876" y="235"/>
            <a:ext cx="1521125" cy="137160"/>
            <a:chOff x="85490" y="5421819"/>
            <a:chExt cx="9411633" cy="295508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3D132D2-F71D-4AF6-9737-87FF156A6557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5CE5CCB-8681-47E0-ABA3-9A224FF58944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7A0B9C2-421E-4D85-9A50-7C7041C0CB6C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7" name="Rectangle 26">
            <a:extLst>
              <a:ext uri="{FF2B5EF4-FFF2-40B4-BE49-F238E27FC236}">
                <a16:creationId xmlns:a16="http://schemas.microsoft.com/office/drawing/2014/main" id="{E453282B-C587-4FB2-ADFA-1419B0E8A51C}"/>
              </a:ext>
            </a:extLst>
          </p:cNvPr>
          <p:cNvSpPr/>
          <p:nvPr userDrawn="1"/>
        </p:nvSpPr>
        <p:spPr>
          <a:xfrm>
            <a:off x="0" y="0"/>
            <a:ext cx="372160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C315D05F-C1C2-4267-A1E5-9D729253E773}"/>
              </a:ext>
            </a:extLst>
          </p:cNvPr>
          <p:cNvGrpSpPr/>
          <p:nvPr userDrawn="1"/>
        </p:nvGrpSpPr>
        <p:grpSpPr>
          <a:xfrm>
            <a:off x="10670876" y="235"/>
            <a:ext cx="1521125" cy="137160"/>
            <a:chOff x="85490" y="5421819"/>
            <a:chExt cx="9411633" cy="295508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90438CD-4966-41EE-A93E-F11D787B6815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D77F79E3-5A41-4ECD-AEE6-84BF3E3AA47F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8CA1E2ED-0724-439E-8814-35AD3AA912BE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32" name="Picture 31">
            <a:extLst>
              <a:ext uri="{FF2B5EF4-FFF2-40B4-BE49-F238E27FC236}">
                <a16:creationId xmlns:a16="http://schemas.microsoft.com/office/drawing/2014/main" id="{CAB384AE-E781-49C5-BA1A-DDBCE04FE47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1799" y="6358172"/>
            <a:ext cx="896112" cy="280035"/>
          </a:xfrm>
          <a:prstGeom prst="rect">
            <a:avLst/>
          </a:prstGeom>
        </p:spPr>
      </p:pic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03BFBA5E-102E-4AC4-BD6E-739EB2B658F0}"/>
              </a:ext>
            </a:extLst>
          </p:cNvPr>
          <p:cNvCxnSpPr>
            <a:cxnSpLocks/>
          </p:cNvCxnSpPr>
          <p:nvPr userDrawn="1"/>
        </p:nvCxnSpPr>
        <p:spPr>
          <a:xfrm>
            <a:off x="4109013" y="1720850"/>
            <a:ext cx="808298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2FA734C1-FB8C-45E3-A050-B8ECB927AECF}"/>
              </a:ext>
            </a:extLst>
          </p:cNvPr>
          <p:cNvCxnSpPr>
            <a:cxnSpLocks/>
          </p:cNvCxnSpPr>
          <p:nvPr userDrawn="1"/>
        </p:nvCxnSpPr>
        <p:spPr>
          <a:xfrm>
            <a:off x="4109013" y="3270250"/>
            <a:ext cx="808298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>
            <a:extLst>
              <a:ext uri="{FF2B5EF4-FFF2-40B4-BE49-F238E27FC236}">
                <a16:creationId xmlns:a16="http://schemas.microsoft.com/office/drawing/2014/main" id="{B844D426-F2D7-4B92-A325-BB8BFDADC9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8586" y="2451101"/>
            <a:ext cx="3066615" cy="1955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1FAFA5BB-BD59-43E5-92AC-F2E29E15C27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08450" y="342900"/>
            <a:ext cx="7245351" cy="1206500"/>
          </a:xfrm>
        </p:spPr>
        <p:txBody>
          <a:bodyPr lIns="0" rIns="0" anchor="ctr">
            <a:normAutofit/>
          </a:bodyPr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  <a:endParaRPr lang="en-IN" dirty="0"/>
          </a:p>
        </p:txBody>
      </p:sp>
      <p:sp>
        <p:nvSpPr>
          <p:cNvPr id="40" name="Text Placeholder 38">
            <a:extLst>
              <a:ext uri="{FF2B5EF4-FFF2-40B4-BE49-F238E27FC236}">
                <a16:creationId xmlns:a16="http://schemas.microsoft.com/office/drawing/2014/main" id="{90C7B118-7D60-483A-92A9-E599BE66D9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08450" y="1892300"/>
            <a:ext cx="7245351" cy="1206500"/>
          </a:xfrm>
        </p:spPr>
        <p:txBody>
          <a:bodyPr lIns="0" rIns="0" anchor="ctr">
            <a:normAutofit/>
          </a:bodyPr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  <a:endParaRPr lang="en-IN" dirty="0"/>
          </a:p>
        </p:txBody>
      </p:sp>
      <p:sp>
        <p:nvSpPr>
          <p:cNvPr id="41" name="Text Placeholder 38">
            <a:extLst>
              <a:ext uri="{FF2B5EF4-FFF2-40B4-BE49-F238E27FC236}">
                <a16:creationId xmlns:a16="http://schemas.microsoft.com/office/drawing/2014/main" id="{973FA3C0-A6D4-4A8C-85DB-6F2D43AAFDA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08450" y="3441700"/>
            <a:ext cx="7245351" cy="1206500"/>
          </a:xfrm>
        </p:spPr>
        <p:txBody>
          <a:bodyPr lIns="0" rIns="0" anchor="ctr">
            <a:normAutofit/>
          </a:bodyPr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  <a:endParaRPr lang="en-IN" dirty="0"/>
          </a:p>
        </p:txBody>
      </p:sp>
      <p:sp>
        <p:nvSpPr>
          <p:cNvPr id="42" name="Text Placeholder 38">
            <a:extLst>
              <a:ext uri="{FF2B5EF4-FFF2-40B4-BE49-F238E27FC236}">
                <a16:creationId xmlns:a16="http://schemas.microsoft.com/office/drawing/2014/main" id="{FF4E41AC-3FA4-43ED-8EAD-24BE17BB52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08450" y="4991100"/>
            <a:ext cx="7245351" cy="1206500"/>
          </a:xfrm>
        </p:spPr>
        <p:txBody>
          <a:bodyPr lIns="0" rIns="0" anchor="ctr">
            <a:normAutofit/>
          </a:bodyPr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  <a:endParaRPr lang="en-IN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5B4CEBD5-D68F-4B82-BBF6-55B23D71A314}"/>
              </a:ext>
            </a:extLst>
          </p:cNvPr>
          <p:cNvCxnSpPr>
            <a:cxnSpLocks/>
          </p:cNvCxnSpPr>
          <p:nvPr userDrawn="1"/>
        </p:nvCxnSpPr>
        <p:spPr>
          <a:xfrm>
            <a:off x="4109013" y="4819650"/>
            <a:ext cx="808298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227227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 Layout 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E02CA5-6A57-4C27-B743-7967296414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5B2D9C8-2298-40B5-A610-8D79025BE53C}"/>
              </a:ext>
            </a:extLst>
          </p:cNvPr>
          <p:cNvCxnSpPr>
            <a:cxnSpLocks/>
          </p:cNvCxnSpPr>
          <p:nvPr userDrawn="1"/>
        </p:nvCxnSpPr>
        <p:spPr>
          <a:xfrm>
            <a:off x="843280" y="3990109"/>
            <a:ext cx="1051052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ECBAE13B-0115-403D-940D-1628128E3226}"/>
              </a:ext>
            </a:extLst>
          </p:cNvPr>
          <p:cNvSpPr/>
          <p:nvPr userDrawn="1"/>
        </p:nvSpPr>
        <p:spPr>
          <a:xfrm flipV="1">
            <a:off x="843280" y="5162648"/>
            <a:ext cx="3820160" cy="1038331"/>
          </a:xfrm>
          <a:custGeom>
            <a:avLst/>
            <a:gdLst>
              <a:gd name="connsiteX0" fmla="*/ 3820160 w 3820160"/>
              <a:gd name="connsiteY0" fmla="*/ 1016000 h 1016000"/>
              <a:gd name="connsiteX1" fmla="*/ 3291840 w 3820160"/>
              <a:gd name="connsiteY1" fmla="*/ 0 h 1016000"/>
              <a:gd name="connsiteX2" fmla="*/ 0 w 3820160"/>
              <a:gd name="connsiteY2" fmla="*/ 0 h 10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820160" h="1016000">
                <a:moveTo>
                  <a:pt x="3820160" y="1016000"/>
                </a:moveTo>
                <a:lnTo>
                  <a:pt x="3291840" y="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accent4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E74EE7D1-7EB1-47D7-9829-A78ACBE9C82B}"/>
              </a:ext>
            </a:extLst>
          </p:cNvPr>
          <p:cNvSpPr/>
          <p:nvPr userDrawn="1"/>
        </p:nvSpPr>
        <p:spPr>
          <a:xfrm flipH="1" flipV="1">
            <a:off x="7406640" y="5162648"/>
            <a:ext cx="3916997" cy="1038331"/>
          </a:xfrm>
          <a:custGeom>
            <a:avLst/>
            <a:gdLst>
              <a:gd name="connsiteX0" fmla="*/ 3820160 w 3820160"/>
              <a:gd name="connsiteY0" fmla="*/ 1016000 h 1016000"/>
              <a:gd name="connsiteX1" fmla="*/ 3291840 w 3820160"/>
              <a:gd name="connsiteY1" fmla="*/ 0 h 1016000"/>
              <a:gd name="connsiteX2" fmla="*/ 0 w 3820160"/>
              <a:gd name="connsiteY2" fmla="*/ 0 h 10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820160" h="1016000">
                <a:moveTo>
                  <a:pt x="3820160" y="1016000"/>
                </a:moveTo>
                <a:lnTo>
                  <a:pt x="3291840" y="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accent2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8531D668-1261-4D87-8B5C-73CAA5D170E9}"/>
              </a:ext>
            </a:extLst>
          </p:cNvPr>
          <p:cNvSpPr/>
          <p:nvPr userDrawn="1"/>
        </p:nvSpPr>
        <p:spPr>
          <a:xfrm>
            <a:off x="843280" y="1796311"/>
            <a:ext cx="3820160" cy="1038331"/>
          </a:xfrm>
          <a:custGeom>
            <a:avLst/>
            <a:gdLst>
              <a:gd name="connsiteX0" fmla="*/ 3820160 w 3820160"/>
              <a:gd name="connsiteY0" fmla="*/ 1016000 h 1016000"/>
              <a:gd name="connsiteX1" fmla="*/ 3291840 w 3820160"/>
              <a:gd name="connsiteY1" fmla="*/ 0 h 1016000"/>
              <a:gd name="connsiteX2" fmla="*/ 0 w 3820160"/>
              <a:gd name="connsiteY2" fmla="*/ 0 h 10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820160" h="1016000">
                <a:moveTo>
                  <a:pt x="3820160" y="1016000"/>
                </a:moveTo>
                <a:lnTo>
                  <a:pt x="3291840" y="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tx2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71F161E5-063C-4889-9AE2-C9627CA11565}"/>
              </a:ext>
            </a:extLst>
          </p:cNvPr>
          <p:cNvSpPr/>
          <p:nvPr userDrawn="1"/>
        </p:nvSpPr>
        <p:spPr>
          <a:xfrm flipH="1">
            <a:off x="7406640" y="1796311"/>
            <a:ext cx="3916997" cy="1038331"/>
          </a:xfrm>
          <a:custGeom>
            <a:avLst/>
            <a:gdLst>
              <a:gd name="connsiteX0" fmla="*/ 3820160 w 3820160"/>
              <a:gd name="connsiteY0" fmla="*/ 1016000 h 1016000"/>
              <a:gd name="connsiteX1" fmla="*/ 3291840 w 3820160"/>
              <a:gd name="connsiteY1" fmla="*/ 0 h 1016000"/>
              <a:gd name="connsiteX2" fmla="*/ 0 w 3820160"/>
              <a:gd name="connsiteY2" fmla="*/ 0 h 10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820160" h="1016000">
                <a:moveTo>
                  <a:pt x="3820160" y="1016000"/>
                </a:moveTo>
                <a:lnTo>
                  <a:pt x="3291840" y="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accent1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308F732B-438B-486D-9BBD-566035C6C883}"/>
              </a:ext>
            </a:extLst>
          </p:cNvPr>
          <p:cNvSpPr/>
          <p:nvPr userDrawn="1"/>
        </p:nvSpPr>
        <p:spPr>
          <a:xfrm>
            <a:off x="5280490" y="3174598"/>
            <a:ext cx="1631023" cy="1631022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000" b="1" dirty="0">
              <a:solidFill>
                <a:schemeClr val="tx1"/>
              </a:solidFill>
            </a:endParaRPr>
          </a:p>
        </p:txBody>
      </p:sp>
      <p:sp>
        <p:nvSpPr>
          <p:cNvPr id="33" name="Isosceles Triangle 32">
            <a:extLst>
              <a:ext uri="{FF2B5EF4-FFF2-40B4-BE49-F238E27FC236}">
                <a16:creationId xmlns:a16="http://schemas.microsoft.com/office/drawing/2014/main" id="{77543E4B-A8E0-4B2A-B62E-16A25E0FFD28}"/>
              </a:ext>
            </a:extLst>
          </p:cNvPr>
          <p:cNvSpPr/>
          <p:nvPr userDrawn="1"/>
        </p:nvSpPr>
        <p:spPr>
          <a:xfrm rot="18900000">
            <a:off x="6529899" y="4407590"/>
            <a:ext cx="300556" cy="259100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34" name="Isosceles Triangle 33">
            <a:extLst>
              <a:ext uri="{FF2B5EF4-FFF2-40B4-BE49-F238E27FC236}">
                <a16:creationId xmlns:a16="http://schemas.microsoft.com/office/drawing/2014/main" id="{42D7F4D5-B5D9-426A-AFAE-91AA4C7C43F4}"/>
              </a:ext>
            </a:extLst>
          </p:cNvPr>
          <p:cNvSpPr/>
          <p:nvPr userDrawn="1"/>
        </p:nvSpPr>
        <p:spPr>
          <a:xfrm rot="2700000">
            <a:off x="5398985" y="4447589"/>
            <a:ext cx="300556" cy="259100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35" name="Isosceles Triangle 34">
            <a:extLst>
              <a:ext uri="{FF2B5EF4-FFF2-40B4-BE49-F238E27FC236}">
                <a16:creationId xmlns:a16="http://schemas.microsoft.com/office/drawing/2014/main" id="{97254CD1-BF91-47B5-B0BF-56E1797B04D0}"/>
              </a:ext>
            </a:extLst>
          </p:cNvPr>
          <p:cNvSpPr/>
          <p:nvPr userDrawn="1"/>
        </p:nvSpPr>
        <p:spPr>
          <a:xfrm rot="13500000">
            <a:off x="6443341" y="3242918"/>
            <a:ext cx="300556" cy="259100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36" name="Isosceles Triangle 35">
            <a:extLst>
              <a:ext uri="{FF2B5EF4-FFF2-40B4-BE49-F238E27FC236}">
                <a16:creationId xmlns:a16="http://schemas.microsoft.com/office/drawing/2014/main" id="{7E20DAD8-5B41-4460-B235-D6E248866491}"/>
              </a:ext>
            </a:extLst>
          </p:cNvPr>
          <p:cNvSpPr/>
          <p:nvPr userDrawn="1"/>
        </p:nvSpPr>
        <p:spPr>
          <a:xfrm rot="8359241">
            <a:off x="5398986" y="3268732"/>
            <a:ext cx="300556" cy="259100"/>
          </a:xfrm>
          <a:prstGeom prst="triangl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44" name="Block Arc 43">
            <a:extLst>
              <a:ext uri="{FF2B5EF4-FFF2-40B4-BE49-F238E27FC236}">
                <a16:creationId xmlns:a16="http://schemas.microsoft.com/office/drawing/2014/main" id="{10321F9D-99DD-4F60-9C52-6BCD0A63C0E0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4308764" y="2202873"/>
            <a:ext cx="3574472" cy="3574472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chemeClr val="accent2"/>
          </a:solidFill>
          <a:ln w="76200">
            <a:solidFill>
              <a:srgbClr val="FFFFFF"/>
            </a:solidFill>
            <a:prstDash val="solid"/>
          </a:ln>
          <a:extLst>
            <a:ext uri="{31F19639-BCED-4A60-ADC4-E9642A236FB7}">
              <a14:hiddenScene3d xmlns:a14="http://schemas.microsoft.com/office/drawing/2010/main">
                <a:camera prst="orthographicFront"/>
                <a:lightRig rig="threePt" dir="t"/>
              </a14:hiddenScene3d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>
            <a:sp3d/>
          </a:bodyPr>
          <a:lstStyle/>
          <a:p>
            <a:pPr algn="l"/>
            <a:endParaRPr lang="en-IN" sz="1200" dirty="0">
              <a:solidFill>
                <a:srgbClr val="FFFFFF"/>
              </a:solidFill>
              <a:effectLst>
                <a:glow>
                  <a:scrgbClr r="0" g="0" b="0"/>
                </a:glow>
              </a:effectLst>
            </a:endParaRPr>
          </a:p>
        </p:txBody>
      </p:sp>
      <p:sp>
        <p:nvSpPr>
          <p:cNvPr id="45" name="Block Arc 44">
            <a:extLst>
              <a:ext uri="{FF2B5EF4-FFF2-40B4-BE49-F238E27FC236}">
                <a16:creationId xmlns:a16="http://schemas.microsoft.com/office/drawing/2014/main" id="{8853C489-B44C-40A9-A0F9-2955DBEBEFA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308764" y="2202873"/>
            <a:ext cx="3574472" cy="3574472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chemeClr val="accent4"/>
          </a:solidFill>
          <a:ln w="76200">
            <a:solidFill>
              <a:srgbClr val="FFFFFF"/>
            </a:solidFill>
            <a:prstDash val="solid"/>
          </a:ln>
          <a:extLst>
            <a:ext uri="{31F19639-BCED-4A60-ADC4-E9642A236FB7}">
              <a14:hiddenScene3d xmlns:a14="http://schemas.microsoft.com/office/drawing/2010/main">
                <a:camera prst="orthographicFront"/>
                <a:lightRig rig="threePt" dir="t"/>
              </a14:hiddenScene3d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>
            <a:sp3d/>
          </a:bodyPr>
          <a:lstStyle/>
          <a:p>
            <a:pPr algn="l"/>
            <a:endParaRPr lang="en-IN" sz="1200" dirty="0">
              <a:solidFill>
                <a:srgbClr val="FFFFFF"/>
              </a:solidFill>
              <a:effectLst>
                <a:glow>
                  <a:scrgbClr r="0" g="0" b="0"/>
                </a:glow>
              </a:effectLst>
            </a:endParaRPr>
          </a:p>
        </p:txBody>
      </p:sp>
      <p:sp>
        <p:nvSpPr>
          <p:cNvPr id="46" name="Block Arc 45">
            <a:extLst>
              <a:ext uri="{FF2B5EF4-FFF2-40B4-BE49-F238E27FC236}">
                <a16:creationId xmlns:a16="http://schemas.microsoft.com/office/drawing/2014/main" id="{B79BDC5E-5B36-4ED5-86F2-315D290BE66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308764" y="2202873"/>
            <a:ext cx="3574472" cy="3574472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chemeClr val="tx2"/>
          </a:solidFill>
          <a:ln w="76200">
            <a:solidFill>
              <a:srgbClr val="FFFFFF"/>
            </a:solidFill>
            <a:prstDash val="solid"/>
          </a:ln>
          <a:extLst>
            <a:ext uri="{31F19639-BCED-4A60-ADC4-E9642A236FB7}">
              <a14:hiddenScene3d xmlns:a14="http://schemas.microsoft.com/office/drawing/2010/main">
                <a:camera prst="orthographicFront"/>
                <a:lightRig rig="threePt" dir="t"/>
              </a14:hiddenScene3d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>
            <a:sp3d/>
          </a:bodyPr>
          <a:lstStyle/>
          <a:p>
            <a:pPr algn="l"/>
            <a:endParaRPr lang="en-IN" sz="1200" dirty="0">
              <a:solidFill>
                <a:srgbClr val="FFFFFF"/>
              </a:solidFill>
              <a:effectLst>
                <a:glow>
                  <a:scrgbClr r="0" g="0" b="0"/>
                </a:glow>
              </a:effectLst>
            </a:endParaRPr>
          </a:p>
        </p:txBody>
      </p:sp>
      <p:sp>
        <p:nvSpPr>
          <p:cNvPr id="47" name="Block Arc 46">
            <a:extLst>
              <a:ext uri="{FF2B5EF4-FFF2-40B4-BE49-F238E27FC236}">
                <a16:creationId xmlns:a16="http://schemas.microsoft.com/office/drawing/2014/main" id="{6433C451-5296-46C4-8EAE-08BAEB8408DD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4308764" y="2202873"/>
            <a:ext cx="3574472" cy="3574472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F58220"/>
          </a:solidFill>
          <a:ln w="76200">
            <a:solidFill>
              <a:srgbClr val="FFFFFF"/>
            </a:solidFill>
            <a:prstDash val="solid"/>
          </a:ln>
          <a:extLst>
            <a:ext uri="{31F19639-BCED-4A60-ADC4-E9642A236FB7}">
              <a14:hiddenScene3d xmlns:a14="http://schemas.microsoft.com/office/drawing/2010/main">
                <a:camera prst="orthographicFront"/>
                <a:lightRig rig="threePt" dir="t"/>
              </a14:hiddenScene3d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>
            <a:sp3d/>
          </a:bodyPr>
          <a:lstStyle/>
          <a:p>
            <a:pPr algn="l"/>
            <a:endParaRPr lang="en-IN" sz="1200" dirty="0">
              <a:solidFill>
                <a:srgbClr val="FFFFFF"/>
              </a:solidFill>
              <a:effectLst>
                <a:glow>
                  <a:scrgbClr r="0" g="0" b="0"/>
                </a:glow>
              </a:effectLst>
            </a:endParaRP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48C42A38-5C48-418B-B828-2956542ADAE2}"/>
              </a:ext>
            </a:extLst>
          </p:cNvPr>
          <p:cNvGrpSpPr/>
          <p:nvPr userDrawn="1"/>
        </p:nvGrpSpPr>
        <p:grpSpPr>
          <a:xfrm>
            <a:off x="4560397" y="2702568"/>
            <a:ext cx="490887" cy="490886"/>
            <a:chOff x="8010217" y="454686"/>
            <a:chExt cx="902674" cy="902674"/>
          </a:xfrm>
        </p:grpSpPr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BB73291E-84E4-417A-AFC3-37F73737005A}"/>
                </a:ext>
              </a:extLst>
            </p:cNvPr>
            <p:cNvSpPr/>
            <p:nvPr/>
          </p:nvSpPr>
          <p:spPr>
            <a:xfrm>
              <a:off x="8010217" y="454686"/>
              <a:ext cx="902674" cy="902674"/>
            </a:xfrm>
            <a:prstGeom prst="ellipse">
              <a:avLst/>
            </a:prstGeom>
            <a:solidFill>
              <a:schemeClr val="bg1"/>
            </a:solidFill>
            <a:ln w="0">
              <a:solidFill>
                <a:schemeClr val="tx2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0DE31E86-85FA-4A44-AF23-5ABFE4ADC970}"/>
                </a:ext>
              </a:extLst>
            </p:cNvPr>
            <p:cNvSpPr/>
            <p:nvPr/>
          </p:nvSpPr>
          <p:spPr>
            <a:xfrm>
              <a:off x="8107080" y="551550"/>
              <a:ext cx="708949" cy="70894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7FF170CD-03FD-4875-A70F-6597B7B9408A}"/>
              </a:ext>
            </a:extLst>
          </p:cNvPr>
          <p:cNvGrpSpPr/>
          <p:nvPr userDrawn="1"/>
        </p:nvGrpSpPr>
        <p:grpSpPr>
          <a:xfrm>
            <a:off x="7102514" y="2702568"/>
            <a:ext cx="490887" cy="490886"/>
            <a:chOff x="8010217" y="454686"/>
            <a:chExt cx="902674" cy="902674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713E0B71-4DCD-4B71-8449-6F3CD3C36A63}"/>
                </a:ext>
              </a:extLst>
            </p:cNvPr>
            <p:cNvSpPr/>
            <p:nvPr/>
          </p:nvSpPr>
          <p:spPr>
            <a:xfrm>
              <a:off x="8010217" y="454686"/>
              <a:ext cx="902674" cy="902674"/>
            </a:xfrm>
            <a:prstGeom prst="ellipse">
              <a:avLst/>
            </a:prstGeom>
            <a:solidFill>
              <a:schemeClr val="bg1"/>
            </a:solidFill>
            <a:ln w="0">
              <a:solidFill>
                <a:schemeClr val="accent1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8ED8E2A0-9DAA-48D8-BBE8-35EE8BF16D21}"/>
                </a:ext>
              </a:extLst>
            </p:cNvPr>
            <p:cNvSpPr/>
            <p:nvPr/>
          </p:nvSpPr>
          <p:spPr>
            <a:xfrm>
              <a:off x="8107080" y="551550"/>
              <a:ext cx="708949" cy="708946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AC4A417D-1AA8-472E-8E5B-91DFDD6204A1}"/>
              </a:ext>
            </a:extLst>
          </p:cNvPr>
          <p:cNvGrpSpPr/>
          <p:nvPr userDrawn="1"/>
        </p:nvGrpSpPr>
        <p:grpSpPr>
          <a:xfrm>
            <a:off x="4560397" y="4913495"/>
            <a:ext cx="490887" cy="490886"/>
            <a:chOff x="8010217" y="454686"/>
            <a:chExt cx="902674" cy="902674"/>
          </a:xfrm>
        </p:grpSpPr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6EC8F863-FC45-497E-B2FB-0256D0DC9A12}"/>
                </a:ext>
              </a:extLst>
            </p:cNvPr>
            <p:cNvSpPr/>
            <p:nvPr/>
          </p:nvSpPr>
          <p:spPr>
            <a:xfrm>
              <a:off x="8010217" y="454686"/>
              <a:ext cx="902674" cy="902674"/>
            </a:xfrm>
            <a:prstGeom prst="ellipse">
              <a:avLst/>
            </a:prstGeom>
            <a:solidFill>
              <a:schemeClr val="bg1"/>
            </a:solidFill>
            <a:ln w="0">
              <a:solidFill>
                <a:schemeClr val="accent4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9230C413-D41E-4D64-B6D5-D360B42F246C}"/>
                </a:ext>
              </a:extLst>
            </p:cNvPr>
            <p:cNvSpPr/>
            <p:nvPr/>
          </p:nvSpPr>
          <p:spPr>
            <a:xfrm>
              <a:off x="8107080" y="551550"/>
              <a:ext cx="708949" cy="70894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5DFAB08B-18E9-47BA-8251-A5669BED38A0}"/>
              </a:ext>
            </a:extLst>
          </p:cNvPr>
          <p:cNvGrpSpPr/>
          <p:nvPr userDrawn="1"/>
        </p:nvGrpSpPr>
        <p:grpSpPr>
          <a:xfrm>
            <a:off x="7102514" y="4913495"/>
            <a:ext cx="490887" cy="490886"/>
            <a:chOff x="8010217" y="454686"/>
            <a:chExt cx="902674" cy="902674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9130CA35-3C8D-4DB5-B80D-0BD2383ECB8B}"/>
                </a:ext>
              </a:extLst>
            </p:cNvPr>
            <p:cNvSpPr/>
            <p:nvPr/>
          </p:nvSpPr>
          <p:spPr>
            <a:xfrm>
              <a:off x="8010217" y="454686"/>
              <a:ext cx="902674" cy="902674"/>
            </a:xfrm>
            <a:prstGeom prst="ellipse">
              <a:avLst/>
            </a:prstGeom>
            <a:solidFill>
              <a:schemeClr val="bg1"/>
            </a:solidFill>
            <a:ln w="0">
              <a:solidFill>
                <a:schemeClr val="accent2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A56002AA-836E-4522-85CA-AB3711FBB44A}"/>
                </a:ext>
              </a:extLst>
            </p:cNvPr>
            <p:cNvSpPr/>
            <p:nvPr/>
          </p:nvSpPr>
          <p:spPr>
            <a:xfrm>
              <a:off x="8107080" y="551550"/>
              <a:ext cx="708949" cy="70894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8A6D547-ABCD-4D62-A31F-0B90A37BF5D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 rot="2726633">
            <a:off x="5970880" y="3037473"/>
            <a:ext cx="1519712" cy="564835"/>
          </a:xfrm>
        </p:spPr>
        <p:txBody>
          <a:bodyPr>
            <a:prstTxWarp prst="textArchUp">
              <a:avLst>
                <a:gd name="adj" fmla="val 10200112"/>
              </a:avLst>
            </a:prstTxWarp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ntent here</a:t>
            </a:r>
            <a:endParaRPr lang="en-IN" dirty="0"/>
          </a:p>
        </p:txBody>
      </p:sp>
      <p:sp>
        <p:nvSpPr>
          <p:cNvPr id="85" name="Text Placeholder 4">
            <a:extLst>
              <a:ext uri="{FF2B5EF4-FFF2-40B4-BE49-F238E27FC236}">
                <a16:creationId xmlns:a16="http://schemas.microsoft.com/office/drawing/2014/main" id="{09F08D0B-10A5-464A-A733-90216BD7E59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 rot="18836492">
            <a:off x="4725872" y="3088243"/>
            <a:ext cx="1519712" cy="564835"/>
          </a:xfrm>
        </p:spPr>
        <p:txBody>
          <a:bodyPr>
            <a:prstTxWarp prst="textArchUp">
              <a:avLst>
                <a:gd name="adj" fmla="val 10200112"/>
              </a:avLst>
            </a:prstTxWarp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ntent here</a:t>
            </a:r>
            <a:endParaRPr lang="en-IN" dirty="0"/>
          </a:p>
        </p:txBody>
      </p:sp>
      <p:sp>
        <p:nvSpPr>
          <p:cNvPr id="86" name="Text Placeholder 4">
            <a:extLst>
              <a:ext uri="{FF2B5EF4-FFF2-40B4-BE49-F238E27FC236}">
                <a16:creationId xmlns:a16="http://schemas.microsoft.com/office/drawing/2014/main" id="{85EF5DB5-2E22-46B8-92AD-D7B2AD7200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 rot="3065494">
            <a:off x="4691131" y="4292238"/>
            <a:ext cx="1519712" cy="564835"/>
          </a:xfrm>
        </p:spPr>
        <p:txBody>
          <a:bodyPr>
            <a:prstTxWarp prst="textArchDown">
              <a:avLst/>
            </a:prstTxWarp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ntent here</a:t>
            </a:r>
            <a:endParaRPr lang="en-IN" dirty="0"/>
          </a:p>
        </p:txBody>
      </p:sp>
      <p:sp>
        <p:nvSpPr>
          <p:cNvPr id="87" name="Text Placeholder 4">
            <a:extLst>
              <a:ext uri="{FF2B5EF4-FFF2-40B4-BE49-F238E27FC236}">
                <a16:creationId xmlns:a16="http://schemas.microsoft.com/office/drawing/2014/main" id="{03A533FF-D1C7-4D9E-BE53-C21304CC15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18669722">
            <a:off x="5896032" y="4331047"/>
            <a:ext cx="1519712" cy="564835"/>
          </a:xfrm>
        </p:spPr>
        <p:txBody>
          <a:bodyPr>
            <a:prstTxWarp prst="textArchDown">
              <a:avLst/>
            </a:prstTxWarp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ntent here</a:t>
            </a:r>
            <a:endParaRPr lang="en-IN" dirty="0"/>
          </a:p>
        </p:txBody>
      </p:sp>
      <p:sp>
        <p:nvSpPr>
          <p:cNvPr id="88" name="Text Placeholder 4">
            <a:extLst>
              <a:ext uri="{FF2B5EF4-FFF2-40B4-BE49-F238E27FC236}">
                <a16:creationId xmlns:a16="http://schemas.microsoft.com/office/drawing/2014/main" id="{7D4BE96B-5302-4435-9A36-A1A0C6D78A8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69706" y="1911312"/>
            <a:ext cx="3384095" cy="189467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ontent </a:t>
            </a:r>
            <a:endParaRPr lang="en-IN" dirty="0"/>
          </a:p>
        </p:txBody>
      </p:sp>
      <p:sp>
        <p:nvSpPr>
          <p:cNvPr id="89" name="Text Placeholder 4">
            <a:extLst>
              <a:ext uri="{FF2B5EF4-FFF2-40B4-BE49-F238E27FC236}">
                <a16:creationId xmlns:a16="http://schemas.microsoft.com/office/drawing/2014/main" id="{DECEA57D-332D-402B-9BC0-2880C6D04C0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69706" y="4173047"/>
            <a:ext cx="3384095" cy="1894679"/>
          </a:xfrm>
        </p:spPr>
        <p:txBody>
          <a:bodyPr anchor="b">
            <a:normAutofit/>
          </a:bodyPr>
          <a:lstStyle>
            <a:lvl1pPr marL="0" indent="0" algn="l">
              <a:buNone/>
              <a:defRPr sz="2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ontent </a:t>
            </a:r>
            <a:endParaRPr lang="en-IN" dirty="0"/>
          </a:p>
        </p:txBody>
      </p:sp>
      <p:sp>
        <p:nvSpPr>
          <p:cNvPr id="90" name="Text Placeholder 4">
            <a:extLst>
              <a:ext uri="{FF2B5EF4-FFF2-40B4-BE49-F238E27FC236}">
                <a16:creationId xmlns:a16="http://schemas.microsoft.com/office/drawing/2014/main" id="{01A73D83-3EC8-4F9F-9BC2-A064178D181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8806" y="1911312"/>
            <a:ext cx="3384095" cy="1894679"/>
          </a:xfrm>
        </p:spPr>
        <p:txBody>
          <a:bodyPr>
            <a:normAutofit/>
          </a:bodyPr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ontent </a:t>
            </a:r>
            <a:endParaRPr lang="en-IN" dirty="0"/>
          </a:p>
        </p:txBody>
      </p:sp>
      <p:sp>
        <p:nvSpPr>
          <p:cNvPr id="91" name="Text Placeholder 4">
            <a:extLst>
              <a:ext uri="{FF2B5EF4-FFF2-40B4-BE49-F238E27FC236}">
                <a16:creationId xmlns:a16="http://schemas.microsoft.com/office/drawing/2014/main" id="{4A24FE29-F151-476C-B825-FC930DFAA6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68806" y="4173047"/>
            <a:ext cx="3384095" cy="1894679"/>
          </a:xfrm>
        </p:spPr>
        <p:txBody>
          <a:bodyPr anchor="b">
            <a:normAutofit/>
          </a:bodyPr>
          <a:lstStyle>
            <a:lvl1pPr marL="0" indent="0" algn="r">
              <a:buNone/>
              <a:defRPr sz="2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Content 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5333480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adial Process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6AE45A-2EF8-47DD-BDD6-C44DF73F85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A970B3AD-6DAD-4DE2-8024-A6766A1D95D2}"/>
              </a:ext>
            </a:extLst>
          </p:cNvPr>
          <p:cNvGrpSpPr/>
          <p:nvPr/>
        </p:nvGrpSpPr>
        <p:grpSpPr>
          <a:xfrm>
            <a:off x="4104640" y="1905550"/>
            <a:ext cx="3982720" cy="4147134"/>
            <a:chOff x="4717774" y="2543996"/>
            <a:chExt cx="2756452" cy="2870242"/>
          </a:xfrm>
        </p:grpSpPr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EBC24964-881A-47D7-BACF-8C74255479C8}"/>
                </a:ext>
              </a:extLst>
            </p:cNvPr>
            <p:cNvGrpSpPr/>
            <p:nvPr/>
          </p:nvGrpSpPr>
          <p:grpSpPr>
            <a:xfrm>
              <a:off x="4717774" y="2607761"/>
              <a:ext cx="2756452" cy="2739538"/>
              <a:chOff x="3711786" y="1041416"/>
              <a:chExt cx="4768427" cy="4739166"/>
            </a:xfrm>
            <a:solidFill>
              <a:schemeClr val="tx2">
                <a:lumMod val="75000"/>
              </a:schemeClr>
            </a:solidFill>
          </p:grpSpPr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41415E33-D4CE-4D31-8680-F227EE947EC7}"/>
                  </a:ext>
                </a:extLst>
              </p:cNvPr>
              <p:cNvSpPr/>
              <p:nvPr/>
            </p:nvSpPr>
            <p:spPr>
              <a:xfrm>
                <a:off x="3874346" y="1041416"/>
                <a:ext cx="4551680" cy="4551680"/>
              </a:xfrm>
              <a:custGeom>
                <a:avLst/>
                <a:gdLst>
                  <a:gd name="connsiteX0" fmla="*/ 2275840 w 4551680"/>
                  <a:gd name="connsiteY0" fmla="*/ 0 h 4551680"/>
                  <a:gd name="connsiteX1" fmla="*/ 4246775 w 4551680"/>
                  <a:gd name="connsiteY1" fmla="*/ 1137920 h 4551680"/>
                  <a:gd name="connsiteX2" fmla="*/ 2275840 w 4551680"/>
                  <a:gd name="connsiteY2" fmla="*/ 2275840 h 4551680"/>
                  <a:gd name="connsiteX3" fmla="*/ 2275840 w 4551680"/>
                  <a:gd name="connsiteY3" fmla="*/ 0 h 4551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51680" h="4551680">
                    <a:moveTo>
                      <a:pt x="2275840" y="0"/>
                    </a:moveTo>
                    <a:cubicBezTo>
                      <a:pt x="3088919" y="0"/>
                      <a:pt x="3840236" y="433773"/>
                      <a:pt x="4246775" y="1137920"/>
                    </a:cubicBezTo>
                    <a:lnTo>
                      <a:pt x="2275840" y="2275840"/>
                    </a:lnTo>
                    <a:lnTo>
                      <a:pt x="2275840" y="0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32474" tIns="629683" rIns="1023620" bIns="3097344" numCol="1" spcCol="1270" anchor="ctr" anchorCtr="0">
                <a:noAutofit/>
              </a:bodyPr>
              <a:lstStyle/>
              <a:p>
                <a:pPr marL="0" lvl="0" indent="0" algn="ctr" defTabSz="1689058" rtl="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IN" sz="3800" kern="1200"/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DFA9E164-11F5-4D36-BA4E-0D39F85CA0A2}"/>
                  </a:ext>
                </a:extLst>
              </p:cNvPr>
              <p:cNvSpPr/>
              <p:nvPr/>
            </p:nvSpPr>
            <p:spPr>
              <a:xfrm>
                <a:off x="3928533" y="1135159"/>
                <a:ext cx="4551680" cy="4551680"/>
              </a:xfrm>
              <a:custGeom>
                <a:avLst/>
                <a:gdLst>
                  <a:gd name="connsiteX0" fmla="*/ 4246775 w 4551680"/>
                  <a:gd name="connsiteY0" fmla="*/ 1137920 h 4551680"/>
                  <a:gd name="connsiteX1" fmla="*/ 4246775 w 4551680"/>
                  <a:gd name="connsiteY1" fmla="*/ 3413760 h 4551680"/>
                  <a:gd name="connsiteX2" fmla="*/ 2275840 w 4551680"/>
                  <a:gd name="connsiteY2" fmla="*/ 2275840 h 4551680"/>
                  <a:gd name="connsiteX3" fmla="*/ 4246775 w 4551680"/>
                  <a:gd name="connsiteY3" fmla="*/ 1137920 h 4551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51680" h="4551680">
                    <a:moveTo>
                      <a:pt x="4246775" y="1137920"/>
                    </a:moveTo>
                    <a:cubicBezTo>
                      <a:pt x="4653315" y="1842067"/>
                      <a:pt x="4653315" y="2709613"/>
                      <a:pt x="4246775" y="3413760"/>
                    </a:cubicBezTo>
                    <a:lnTo>
                      <a:pt x="2275840" y="2275840"/>
                    </a:lnTo>
                    <a:lnTo>
                      <a:pt x="4246775" y="1137920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3157220" tIns="1910927" rIns="285327" bIns="1883833" numCol="1" spcCol="1270" anchor="ctr" anchorCtr="0">
                <a:noAutofit/>
              </a:bodyPr>
              <a:lstStyle/>
              <a:p>
                <a:pPr marL="0" lvl="0" indent="0" algn="ctr" defTabSz="2400240" rtl="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IN" sz="5400" kern="1200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01F52362-B937-4FDA-9145-4A14746BC26B}"/>
                  </a:ext>
                </a:extLst>
              </p:cNvPr>
              <p:cNvSpPr/>
              <p:nvPr/>
            </p:nvSpPr>
            <p:spPr>
              <a:xfrm>
                <a:off x="3874346" y="1228902"/>
                <a:ext cx="4551680" cy="4551680"/>
              </a:xfrm>
              <a:custGeom>
                <a:avLst/>
                <a:gdLst>
                  <a:gd name="connsiteX0" fmla="*/ 4246775 w 4551680"/>
                  <a:gd name="connsiteY0" fmla="*/ 3413760 h 4551680"/>
                  <a:gd name="connsiteX1" fmla="*/ 2275840 w 4551680"/>
                  <a:gd name="connsiteY1" fmla="*/ 4551680 h 4551680"/>
                  <a:gd name="connsiteX2" fmla="*/ 2275840 w 4551680"/>
                  <a:gd name="connsiteY2" fmla="*/ 2275840 h 4551680"/>
                  <a:gd name="connsiteX3" fmla="*/ 4246775 w 4551680"/>
                  <a:gd name="connsiteY3" fmla="*/ 3413760 h 4551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51680" h="4551680">
                    <a:moveTo>
                      <a:pt x="4246775" y="3413760"/>
                    </a:moveTo>
                    <a:cubicBezTo>
                      <a:pt x="3840235" y="4117907"/>
                      <a:pt x="3088919" y="4551680"/>
                      <a:pt x="2275840" y="4551680"/>
                    </a:cubicBezTo>
                    <a:lnTo>
                      <a:pt x="2275840" y="2275840"/>
                    </a:lnTo>
                    <a:lnTo>
                      <a:pt x="4246775" y="3413760"/>
                    </a:lnTo>
                    <a:close/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54064" tIns="3146027" rIns="1045210" bIns="624180" numCol="1" spcCol="1270" anchor="ctr" anchorCtr="0">
                <a:noAutofit/>
              </a:bodyPr>
              <a:lstStyle/>
              <a:p>
                <a:pPr marL="0" lvl="0" indent="0" algn="ctr" defTabSz="2444690" rtl="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IN" sz="5500" kern="1200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133A78E5-4E11-4B59-9A74-8268A802F194}"/>
                  </a:ext>
                </a:extLst>
              </p:cNvPr>
              <p:cNvSpPr/>
              <p:nvPr/>
            </p:nvSpPr>
            <p:spPr>
              <a:xfrm>
                <a:off x="3765973" y="1228902"/>
                <a:ext cx="4551680" cy="4551680"/>
              </a:xfrm>
              <a:custGeom>
                <a:avLst/>
                <a:gdLst>
                  <a:gd name="connsiteX0" fmla="*/ 2275840 w 4551680"/>
                  <a:gd name="connsiteY0" fmla="*/ 4551680 h 4551680"/>
                  <a:gd name="connsiteX1" fmla="*/ 304905 w 4551680"/>
                  <a:gd name="connsiteY1" fmla="*/ 3413760 h 4551680"/>
                  <a:gd name="connsiteX2" fmla="*/ 2275840 w 4551680"/>
                  <a:gd name="connsiteY2" fmla="*/ 2275840 h 4551680"/>
                  <a:gd name="connsiteX3" fmla="*/ 2275840 w 4551680"/>
                  <a:gd name="connsiteY3" fmla="*/ 4551680 h 4551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51680" h="4551680">
                    <a:moveTo>
                      <a:pt x="2275840" y="4551680"/>
                    </a:moveTo>
                    <a:cubicBezTo>
                      <a:pt x="1462761" y="4551680"/>
                      <a:pt x="711444" y="4117907"/>
                      <a:pt x="304905" y="3413760"/>
                    </a:cubicBezTo>
                    <a:lnTo>
                      <a:pt x="2275840" y="2275840"/>
                    </a:lnTo>
                    <a:lnTo>
                      <a:pt x="2275840" y="4551680"/>
                    </a:lnTo>
                    <a:close/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045210" tIns="3146027" rIns="2454064" bIns="624180" numCol="1" spcCol="1270" anchor="ctr" anchorCtr="0">
                <a:noAutofit/>
              </a:bodyPr>
              <a:lstStyle/>
              <a:p>
                <a:pPr marL="0" lvl="0" indent="0" algn="ctr" defTabSz="2444690" rtl="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IN" sz="5500" kern="1200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9216ACB5-555D-43BB-A037-0ECCB2E37685}"/>
                  </a:ext>
                </a:extLst>
              </p:cNvPr>
              <p:cNvSpPr/>
              <p:nvPr/>
            </p:nvSpPr>
            <p:spPr>
              <a:xfrm>
                <a:off x="3711786" y="1135159"/>
                <a:ext cx="4551680" cy="4551680"/>
              </a:xfrm>
              <a:custGeom>
                <a:avLst/>
                <a:gdLst>
                  <a:gd name="connsiteX0" fmla="*/ 304905 w 4551680"/>
                  <a:gd name="connsiteY0" fmla="*/ 3413760 h 4551680"/>
                  <a:gd name="connsiteX1" fmla="*/ 304905 w 4551680"/>
                  <a:gd name="connsiteY1" fmla="*/ 1137920 h 4551680"/>
                  <a:gd name="connsiteX2" fmla="*/ 2275840 w 4551680"/>
                  <a:gd name="connsiteY2" fmla="*/ 2275840 h 4551680"/>
                  <a:gd name="connsiteX3" fmla="*/ 304905 w 4551680"/>
                  <a:gd name="connsiteY3" fmla="*/ 3413760 h 4551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51680" h="4551680">
                    <a:moveTo>
                      <a:pt x="304905" y="3413760"/>
                    </a:moveTo>
                    <a:cubicBezTo>
                      <a:pt x="-101635" y="2709613"/>
                      <a:pt x="-101635" y="1842067"/>
                      <a:pt x="304905" y="1137920"/>
                    </a:cubicBezTo>
                    <a:lnTo>
                      <a:pt x="2275840" y="2275840"/>
                    </a:lnTo>
                    <a:lnTo>
                      <a:pt x="304905" y="341376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66277" tIns="1891877" rIns="3138170" bIns="1864783" numCol="1" spcCol="1270" anchor="ctr" anchorCtr="0">
                <a:noAutofit/>
              </a:bodyPr>
              <a:lstStyle/>
              <a:p>
                <a:pPr marL="0" lvl="0" indent="0" algn="ctr" defTabSz="1733507" rtl="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IN" sz="3900" kern="1200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F05EFEB0-FE59-45AB-8B10-FF81DE149E2F}"/>
                  </a:ext>
                </a:extLst>
              </p:cNvPr>
              <p:cNvSpPr/>
              <p:nvPr/>
            </p:nvSpPr>
            <p:spPr>
              <a:xfrm>
                <a:off x="3765973" y="1041416"/>
                <a:ext cx="4551680" cy="4551680"/>
              </a:xfrm>
              <a:custGeom>
                <a:avLst/>
                <a:gdLst>
                  <a:gd name="connsiteX0" fmla="*/ 304905 w 4551680"/>
                  <a:gd name="connsiteY0" fmla="*/ 1137920 h 4551680"/>
                  <a:gd name="connsiteX1" fmla="*/ 2275840 w 4551680"/>
                  <a:gd name="connsiteY1" fmla="*/ 0 h 4551680"/>
                  <a:gd name="connsiteX2" fmla="*/ 2275840 w 4551680"/>
                  <a:gd name="connsiteY2" fmla="*/ 2275840 h 4551680"/>
                  <a:gd name="connsiteX3" fmla="*/ 304905 w 4551680"/>
                  <a:gd name="connsiteY3" fmla="*/ 1137920 h 4551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51680" h="4551680">
                    <a:moveTo>
                      <a:pt x="304905" y="1137920"/>
                    </a:moveTo>
                    <a:cubicBezTo>
                      <a:pt x="711445" y="433773"/>
                      <a:pt x="1462761" y="0"/>
                      <a:pt x="2275840" y="0"/>
                    </a:cubicBezTo>
                    <a:lnTo>
                      <a:pt x="2275840" y="2275840"/>
                    </a:lnTo>
                    <a:lnTo>
                      <a:pt x="304905" y="113792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023620" tIns="629683" rIns="2432474" bIns="3097344" numCol="1" spcCol="1270" anchor="ctr" anchorCtr="0">
                <a:noAutofit/>
              </a:bodyPr>
              <a:lstStyle/>
              <a:p>
                <a:pPr marL="0" lvl="0" indent="0" algn="ctr" defTabSz="1689058" rtl="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IN" sz="3800" kern="1200"/>
              </a:p>
            </p:txBody>
          </p: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0BA0EF6B-3A32-415A-8B02-D290BB1E0EF9}"/>
                </a:ext>
              </a:extLst>
            </p:cNvPr>
            <p:cNvGrpSpPr/>
            <p:nvPr/>
          </p:nvGrpSpPr>
          <p:grpSpPr>
            <a:xfrm>
              <a:off x="4846983" y="2736177"/>
              <a:ext cx="2498034" cy="2482706"/>
              <a:chOff x="3711786" y="1041416"/>
              <a:chExt cx="4768427" cy="4739166"/>
            </a:xfrm>
            <a:solidFill>
              <a:schemeClr val="tx2"/>
            </a:solidFill>
          </p:grpSpPr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715D55AE-BBCE-4A73-99E4-1A133E2B4B6C}"/>
                  </a:ext>
                </a:extLst>
              </p:cNvPr>
              <p:cNvSpPr/>
              <p:nvPr/>
            </p:nvSpPr>
            <p:spPr>
              <a:xfrm>
                <a:off x="3874346" y="1041416"/>
                <a:ext cx="4551680" cy="4551680"/>
              </a:xfrm>
              <a:custGeom>
                <a:avLst/>
                <a:gdLst>
                  <a:gd name="connsiteX0" fmla="*/ 2275840 w 4551680"/>
                  <a:gd name="connsiteY0" fmla="*/ 0 h 4551680"/>
                  <a:gd name="connsiteX1" fmla="*/ 4246775 w 4551680"/>
                  <a:gd name="connsiteY1" fmla="*/ 1137920 h 4551680"/>
                  <a:gd name="connsiteX2" fmla="*/ 2275840 w 4551680"/>
                  <a:gd name="connsiteY2" fmla="*/ 2275840 h 4551680"/>
                  <a:gd name="connsiteX3" fmla="*/ 2275840 w 4551680"/>
                  <a:gd name="connsiteY3" fmla="*/ 0 h 4551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51680" h="4551680">
                    <a:moveTo>
                      <a:pt x="2275840" y="0"/>
                    </a:moveTo>
                    <a:cubicBezTo>
                      <a:pt x="3088919" y="0"/>
                      <a:pt x="3840236" y="433773"/>
                      <a:pt x="4246775" y="1137920"/>
                    </a:cubicBezTo>
                    <a:lnTo>
                      <a:pt x="2275840" y="2275840"/>
                    </a:lnTo>
                    <a:lnTo>
                      <a:pt x="227584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32474" tIns="629683" rIns="1023620" bIns="3097344" numCol="1" spcCol="1270" anchor="ctr" anchorCtr="0">
                <a:noAutofit/>
              </a:bodyPr>
              <a:lstStyle/>
              <a:p>
                <a:pPr marL="0" lvl="0" indent="0" algn="ctr" defTabSz="1689058" rtl="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IN" sz="3800" kern="1200"/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9A30DA41-77F0-43F6-A914-5B992CCB871E}"/>
                  </a:ext>
                </a:extLst>
              </p:cNvPr>
              <p:cNvSpPr/>
              <p:nvPr/>
            </p:nvSpPr>
            <p:spPr>
              <a:xfrm>
                <a:off x="3928533" y="1135159"/>
                <a:ext cx="4551680" cy="4551680"/>
              </a:xfrm>
              <a:custGeom>
                <a:avLst/>
                <a:gdLst>
                  <a:gd name="connsiteX0" fmla="*/ 4246775 w 4551680"/>
                  <a:gd name="connsiteY0" fmla="*/ 1137920 h 4551680"/>
                  <a:gd name="connsiteX1" fmla="*/ 4246775 w 4551680"/>
                  <a:gd name="connsiteY1" fmla="*/ 3413760 h 4551680"/>
                  <a:gd name="connsiteX2" fmla="*/ 2275840 w 4551680"/>
                  <a:gd name="connsiteY2" fmla="*/ 2275840 h 4551680"/>
                  <a:gd name="connsiteX3" fmla="*/ 4246775 w 4551680"/>
                  <a:gd name="connsiteY3" fmla="*/ 1137920 h 4551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51680" h="4551680">
                    <a:moveTo>
                      <a:pt x="4246775" y="1137920"/>
                    </a:moveTo>
                    <a:cubicBezTo>
                      <a:pt x="4653315" y="1842067"/>
                      <a:pt x="4653315" y="2709613"/>
                      <a:pt x="4246775" y="3413760"/>
                    </a:cubicBezTo>
                    <a:lnTo>
                      <a:pt x="2275840" y="2275840"/>
                    </a:lnTo>
                    <a:lnTo>
                      <a:pt x="4246775" y="113792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3157220" tIns="1910927" rIns="285327" bIns="1883833" numCol="1" spcCol="1270" anchor="ctr" anchorCtr="0">
                <a:noAutofit/>
              </a:bodyPr>
              <a:lstStyle/>
              <a:p>
                <a:pPr marL="0" lvl="0" indent="0" algn="ctr" defTabSz="2400240" rtl="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IN" sz="5400" kern="1200"/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3DC86C56-38D4-4434-8120-03AFA648D723}"/>
                  </a:ext>
                </a:extLst>
              </p:cNvPr>
              <p:cNvSpPr/>
              <p:nvPr/>
            </p:nvSpPr>
            <p:spPr>
              <a:xfrm>
                <a:off x="3874346" y="1228902"/>
                <a:ext cx="4551680" cy="4551680"/>
              </a:xfrm>
              <a:custGeom>
                <a:avLst/>
                <a:gdLst>
                  <a:gd name="connsiteX0" fmla="*/ 4246775 w 4551680"/>
                  <a:gd name="connsiteY0" fmla="*/ 3413760 h 4551680"/>
                  <a:gd name="connsiteX1" fmla="*/ 2275840 w 4551680"/>
                  <a:gd name="connsiteY1" fmla="*/ 4551680 h 4551680"/>
                  <a:gd name="connsiteX2" fmla="*/ 2275840 w 4551680"/>
                  <a:gd name="connsiteY2" fmla="*/ 2275840 h 4551680"/>
                  <a:gd name="connsiteX3" fmla="*/ 4246775 w 4551680"/>
                  <a:gd name="connsiteY3" fmla="*/ 3413760 h 4551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51680" h="4551680">
                    <a:moveTo>
                      <a:pt x="4246775" y="3413760"/>
                    </a:moveTo>
                    <a:cubicBezTo>
                      <a:pt x="3840235" y="4117907"/>
                      <a:pt x="3088919" y="4551680"/>
                      <a:pt x="2275840" y="4551680"/>
                    </a:cubicBezTo>
                    <a:lnTo>
                      <a:pt x="2275840" y="2275840"/>
                    </a:lnTo>
                    <a:lnTo>
                      <a:pt x="4246775" y="341376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54064" tIns="3146027" rIns="1045210" bIns="624180" numCol="1" spcCol="1270" anchor="ctr" anchorCtr="0">
                <a:noAutofit/>
              </a:bodyPr>
              <a:lstStyle/>
              <a:p>
                <a:pPr marL="0" lvl="0" indent="0" algn="ctr" defTabSz="2444690" rtl="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IN" sz="5500" kern="1200"/>
              </a:p>
            </p:txBody>
          </p:sp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B4EE9D47-CF9F-4937-AA5D-5A9FD9B9FDF0}"/>
                  </a:ext>
                </a:extLst>
              </p:cNvPr>
              <p:cNvSpPr/>
              <p:nvPr/>
            </p:nvSpPr>
            <p:spPr>
              <a:xfrm>
                <a:off x="3765973" y="1228902"/>
                <a:ext cx="4551680" cy="4551680"/>
              </a:xfrm>
              <a:custGeom>
                <a:avLst/>
                <a:gdLst>
                  <a:gd name="connsiteX0" fmla="*/ 2275840 w 4551680"/>
                  <a:gd name="connsiteY0" fmla="*/ 4551680 h 4551680"/>
                  <a:gd name="connsiteX1" fmla="*/ 304905 w 4551680"/>
                  <a:gd name="connsiteY1" fmla="*/ 3413760 h 4551680"/>
                  <a:gd name="connsiteX2" fmla="*/ 2275840 w 4551680"/>
                  <a:gd name="connsiteY2" fmla="*/ 2275840 h 4551680"/>
                  <a:gd name="connsiteX3" fmla="*/ 2275840 w 4551680"/>
                  <a:gd name="connsiteY3" fmla="*/ 4551680 h 4551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51680" h="4551680">
                    <a:moveTo>
                      <a:pt x="2275840" y="4551680"/>
                    </a:moveTo>
                    <a:cubicBezTo>
                      <a:pt x="1462761" y="4551680"/>
                      <a:pt x="711444" y="4117907"/>
                      <a:pt x="304905" y="3413760"/>
                    </a:cubicBezTo>
                    <a:lnTo>
                      <a:pt x="2275840" y="2275840"/>
                    </a:lnTo>
                    <a:lnTo>
                      <a:pt x="2275840" y="455168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045210" tIns="3146027" rIns="2454064" bIns="624180" numCol="1" spcCol="1270" anchor="ctr" anchorCtr="0">
                <a:noAutofit/>
              </a:bodyPr>
              <a:lstStyle/>
              <a:p>
                <a:pPr marL="0" lvl="0" indent="0" algn="ctr" defTabSz="2444690" rtl="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IN" sz="5500" kern="1200"/>
              </a:p>
            </p:txBody>
          </p:sp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AD79306B-4928-4F83-9540-9A98A6AC708B}"/>
                  </a:ext>
                </a:extLst>
              </p:cNvPr>
              <p:cNvSpPr/>
              <p:nvPr/>
            </p:nvSpPr>
            <p:spPr>
              <a:xfrm>
                <a:off x="3711786" y="1135159"/>
                <a:ext cx="4551680" cy="4551680"/>
              </a:xfrm>
              <a:custGeom>
                <a:avLst/>
                <a:gdLst>
                  <a:gd name="connsiteX0" fmla="*/ 304905 w 4551680"/>
                  <a:gd name="connsiteY0" fmla="*/ 3413760 h 4551680"/>
                  <a:gd name="connsiteX1" fmla="*/ 304905 w 4551680"/>
                  <a:gd name="connsiteY1" fmla="*/ 1137920 h 4551680"/>
                  <a:gd name="connsiteX2" fmla="*/ 2275840 w 4551680"/>
                  <a:gd name="connsiteY2" fmla="*/ 2275840 h 4551680"/>
                  <a:gd name="connsiteX3" fmla="*/ 304905 w 4551680"/>
                  <a:gd name="connsiteY3" fmla="*/ 3413760 h 4551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51680" h="4551680">
                    <a:moveTo>
                      <a:pt x="304905" y="3413760"/>
                    </a:moveTo>
                    <a:cubicBezTo>
                      <a:pt x="-101635" y="2709613"/>
                      <a:pt x="-101635" y="1842067"/>
                      <a:pt x="304905" y="1137920"/>
                    </a:cubicBezTo>
                    <a:lnTo>
                      <a:pt x="2275840" y="2275840"/>
                    </a:lnTo>
                    <a:lnTo>
                      <a:pt x="304905" y="341376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66277" tIns="1891877" rIns="3138170" bIns="1864783" numCol="1" spcCol="1270" anchor="ctr" anchorCtr="0">
                <a:noAutofit/>
              </a:bodyPr>
              <a:lstStyle/>
              <a:p>
                <a:pPr marL="0" lvl="0" indent="0" algn="ctr" defTabSz="1733507" rtl="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IN" sz="3900" kern="1200"/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F74DDEDD-3843-4539-9E72-18FE3F6AF6D1}"/>
                  </a:ext>
                </a:extLst>
              </p:cNvPr>
              <p:cNvSpPr/>
              <p:nvPr/>
            </p:nvSpPr>
            <p:spPr>
              <a:xfrm>
                <a:off x="3765973" y="1041416"/>
                <a:ext cx="4551680" cy="4551680"/>
              </a:xfrm>
              <a:custGeom>
                <a:avLst/>
                <a:gdLst>
                  <a:gd name="connsiteX0" fmla="*/ 304905 w 4551680"/>
                  <a:gd name="connsiteY0" fmla="*/ 1137920 h 4551680"/>
                  <a:gd name="connsiteX1" fmla="*/ 2275840 w 4551680"/>
                  <a:gd name="connsiteY1" fmla="*/ 0 h 4551680"/>
                  <a:gd name="connsiteX2" fmla="*/ 2275840 w 4551680"/>
                  <a:gd name="connsiteY2" fmla="*/ 2275840 h 4551680"/>
                  <a:gd name="connsiteX3" fmla="*/ 304905 w 4551680"/>
                  <a:gd name="connsiteY3" fmla="*/ 1137920 h 4551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51680" h="4551680">
                    <a:moveTo>
                      <a:pt x="304905" y="1137920"/>
                    </a:moveTo>
                    <a:cubicBezTo>
                      <a:pt x="711445" y="433773"/>
                      <a:pt x="1462761" y="0"/>
                      <a:pt x="2275840" y="0"/>
                    </a:cubicBezTo>
                    <a:lnTo>
                      <a:pt x="2275840" y="2275840"/>
                    </a:lnTo>
                    <a:lnTo>
                      <a:pt x="304905" y="113792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023620" tIns="629683" rIns="2432474" bIns="3097344" numCol="1" spcCol="1270" anchor="ctr" anchorCtr="0">
                <a:noAutofit/>
              </a:bodyPr>
              <a:lstStyle/>
              <a:p>
                <a:pPr marL="0" lvl="0" indent="0" algn="ctr" defTabSz="1689058" rtl="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IN" sz="3800" kern="1200"/>
              </a:p>
            </p:txBody>
          </p: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364BB482-2EE0-4DB5-AF91-1E3295351BEC}"/>
                </a:ext>
              </a:extLst>
            </p:cNvPr>
            <p:cNvGrpSpPr/>
            <p:nvPr/>
          </p:nvGrpSpPr>
          <p:grpSpPr>
            <a:xfrm>
              <a:off x="5936550" y="2543996"/>
              <a:ext cx="264225" cy="256228"/>
              <a:chOff x="5936550" y="2543996"/>
              <a:chExt cx="264225" cy="256228"/>
            </a:xfrm>
          </p:grpSpPr>
          <p:sp>
            <p:nvSpPr>
              <p:cNvPr id="60" name="Arrow: Chevron 59">
                <a:extLst>
                  <a:ext uri="{FF2B5EF4-FFF2-40B4-BE49-F238E27FC236}">
                    <a16:creationId xmlns:a16="http://schemas.microsoft.com/office/drawing/2014/main" id="{57CAD6BD-A6BF-45F5-98D1-2319A6FBE2DC}"/>
                  </a:ext>
                </a:extLst>
              </p:cNvPr>
              <p:cNvSpPr/>
              <p:nvPr/>
            </p:nvSpPr>
            <p:spPr>
              <a:xfrm>
                <a:off x="5959410" y="2543996"/>
                <a:ext cx="241365" cy="256228"/>
              </a:xfrm>
              <a:prstGeom prst="chevron">
                <a:avLst>
                  <a:gd name="adj" fmla="val 40583"/>
                </a:avLst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/>
                <a:endParaRPr lang="en-IN" sz="14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Arrow: Chevron 58">
                <a:extLst>
                  <a:ext uri="{FF2B5EF4-FFF2-40B4-BE49-F238E27FC236}">
                    <a16:creationId xmlns:a16="http://schemas.microsoft.com/office/drawing/2014/main" id="{78688B9F-A605-4B0E-BF8B-40E8F0B17F27}"/>
                  </a:ext>
                </a:extLst>
              </p:cNvPr>
              <p:cNvSpPr/>
              <p:nvPr/>
            </p:nvSpPr>
            <p:spPr>
              <a:xfrm>
                <a:off x="5936550" y="2543996"/>
                <a:ext cx="233745" cy="256228"/>
              </a:xfrm>
              <a:prstGeom prst="chevron">
                <a:avLst>
                  <a:gd name="adj" fmla="val 40583"/>
                </a:avLst>
              </a:prstGeom>
              <a:solidFill>
                <a:schemeClr val="tx1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/>
                <a:endParaRPr lang="en-IN" sz="14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57" name="Arrow: Chevron 56">
                <a:extLst>
                  <a:ext uri="{FF2B5EF4-FFF2-40B4-BE49-F238E27FC236}">
                    <a16:creationId xmlns:a16="http://schemas.microsoft.com/office/drawing/2014/main" id="{A6497C99-86B6-4BB4-8B0B-FF10C3D45BB9}"/>
                  </a:ext>
                </a:extLst>
              </p:cNvPr>
              <p:cNvSpPr/>
              <p:nvPr/>
            </p:nvSpPr>
            <p:spPr>
              <a:xfrm>
                <a:off x="5949885" y="2543996"/>
                <a:ext cx="233745" cy="256228"/>
              </a:xfrm>
              <a:prstGeom prst="chevron">
                <a:avLst>
                  <a:gd name="adj" fmla="val 40583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/>
                <a:endParaRPr lang="en-IN" sz="1400" b="1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B8E01D86-F780-4BDF-B8A9-C0E7739F28CD}"/>
                </a:ext>
              </a:extLst>
            </p:cNvPr>
            <p:cNvGrpSpPr/>
            <p:nvPr/>
          </p:nvGrpSpPr>
          <p:grpSpPr>
            <a:xfrm rot="3702624">
              <a:off x="7079232" y="3172773"/>
              <a:ext cx="264225" cy="256228"/>
              <a:chOff x="5936550" y="2543996"/>
              <a:chExt cx="264225" cy="256228"/>
            </a:xfrm>
          </p:grpSpPr>
          <p:sp>
            <p:nvSpPr>
              <p:cNvPr id="63" name="Arrow: Chevron 62">
                <a:extLst>
                  <a:ext uri="{FF2B5EF4-FFF2-40B4-BE49-F238E27FC236}">
                    <a16:creationId xmlns:a16="http://schemas.microsoft.com/office/drawing/2014/main" id="{F6A21AAC-2831-4A2E-94C9-90A9BE28C367}"/>
                  </a:ext>
                </a:extLst>
              </p:cNvPr>
              <p:cNvSpPr/>
              <p:nvPr/>
            </p:nvSpPr>
            <p:spPr>
              <a:xfrm>
                <a:off x="5959410" y="2543996"/>
                <a:ext cx="241365" cy="256228"/>
              </a:xfrm>
              <a:prstGeom prst="chevron">
                <a:avLst>
                  <a:gd name="adj" fmla="val 40583"/>
                </a:avLst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/>
                <a:endParaRPr lang="en-IN" sz="14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64" name="Arrow: Chevron 63">
                <a:extLst>
                  <a:ext uri="{FF2B5EF4-FFF2-40B4-BE49-F238E27FC236}">
                    <a16:creationId xmlns:a16="http://schemas.microsoft.com/office/drawing/2014/main" id="{8962EA54-3810-4AFA-A199-36EB21D9A696}"/>
                  </a:ext>
                </a:extLst>
              </p:cNvPr>
              <p:cNvSpPr/>
              <p:nvPr/>
            </p:nvSpPr>
            <p:spPr>
              <a:xfrm>
                <a:off x="5936550" y="2543996"/>
                <a:ext cx="233745" cy="256228"/>
              </a:xfrm>
              <a:prstGeom prst="chevron">
                <a:avLst>
                  <a:gd name="adj" fmla="val 40583"/>
                </a:avLst>
              </a:prstGeom>
              <a:solidFill>
                <a:schemeClr val="tx1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/>
                <a:endParaRPr lang="en-IN" sz="14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65" name="Arrow: Chevron 64">
                <a:extLst>
                  <a:ext uri="{FF2B5EF4-FFF2-40B4-BE49-F238E27FC236}">
                    <a16:creationId xmlns:a16="http://schemas.microsoft.com/office/drawing/2014/main" id="{29328633-7689-460A-BA0D-0F49769A1739}"/>
                  </a:ext>
                </a:extLst>
              </p:cNvPr>
              <p:cNvSpPr/>
              <p:nvPr/>
            </p:nvSpPr>
            <p:spPr>
              <a:xfrm>
                <a:off x="5949885" y="2543996"/>
                <a:ext cx="233745" cy="256228"/>
              </a:xfrm>
              <a:prstGeom prst="chevron">
                <a:avLst>
                  <a:gd name="adj" fmla="val 40583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/>
                <a:endParaRPr lang="en-IN" sz="1400" b="1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F94D2FA3-5EDA-4222-A519-6180231B5B42}"/>
                </a:ext>
              </a:extLst>
            </p:cNvPr>
            <p:cNvGrpSpPr/>
            <p:nvPr/>
          </p:nvGrpSpPr>
          <p:grpSpPr>
            <a:xfrm rot="7001931">
              <a:off x="7115684" y="4477309"/>
              <a:ext cx="264225" cy="256228"/>
              <a:chOff x="5936550" y="2543996"/>
              <a:chExt cx="264225" cy="256228"/>
            </a:xfrm>
          </p:grpSpPr>
          <p:sp>
            <p:nvSpPr>
              <p:cNvPr id="67" name="Arrow: Chevron 66">
                <a:extLst>
                  <a:ext uri="{FF2B5EF4-FFF2-40B4-BE49-F238E27FC236}">
                    <a16:creationId xmlns:a16="http://schemas.microsoft.com/office/drawing/2014/main" id="{50DA51F1-7035-496C-A9E4-0E6E180B3529}"/>
                  </a:ext>
                </a:extLst>
              </p:cNvPr>
              <p:cNvSpPr/>
              <p:nvPr/>
            </p:nvSpPr>
            <p:spPr>
              <a:xfrm>
                <a:off x="5959410" y="2543996"/>
                <a:ext cx="241365" cy="256228"/>
              </a:xfrm>
              <a:prstGeom prst="chevron">
                <a:avLst>
                  <a:gd name="adj" fmla="val 40583"/>
                </a:avLst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/>
                <a:endParaRPr lang="en-IN" sz="14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68" name="Arrow: Chevron 67">
                <a:extLst>
                  <a:ext uri="{FF2B5EF4-FFF2-40B4-BE49-F238E27FC236}">
                    <a16:creationId xmlns:a16="http://schemas.microsoft.com/office/drawing/2014/main" id="{B3A3DCEC-1BB2-4AB2-A56F-8AD64D7CBF3E}"/>
                  </a:ext>
                </a:extLst>
              </p:cNvPr>
              <p:cNvSpPr/>
              <p:nvPr/>
            </p:nvSpPr>
            <p:spPr>
              <a:xfrm>
                <a:off x="5936550" y="2543996"/>
                <a:ext cx="233745" cy="256228"/>
              </a:xfrm>
              <a:prstGeom prst="chevron">
                <a:avLst>
                  <a:gd name="adj" fmla="val 40583"/>
                </a:avLst>
              </a:prstGeom>
              <a:solidFill>
                <a:schemeClr val="tx1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/>
                <a:endParaRPr lang="en-IN" sz="14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69" name="Arrow: Chevron 68">
                <a:extLst>
                  <a:ext uri="{FF2B5EF4-FFF2-40B4-BE49-F238E27FC236}">
                    <a16:creationId xmlns:a16="http://schemas.microsoft.com/office/drawing/2014/main" id="{4F7DD745-61AE-4EF9-87EB-65F4AD4818D2}"/>
                  </a:ext>
                </a:extLst>
              </p:cNvPr>
              <p:cNvSpPr/>
              <p:nvPr/>
            </p:nvSpPr>
            <p:spPr>
              <a:xfrm>
                <a:off x="5949885" y="2543996"/>
                <a:ext cx="233745" cy="256228"/>
              </a:xfrm>
              <a:prstGeom prst="chevron">
                <a:avLst>
                  <a:gd name="adj" fmla="val 40583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/>
                <a:endParaRPr lang="en-IN" sz="1400" b="1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C378D724-2601-4BBF-A4D3-E5FA5F8F6D0D}"/>
                </a:ext>
              </a:extLst>
            </p:cNvPr>
            <p:cNvGrpSpPr/>
            <p:nvPr/>
          </p:nvGrpSpPr>
          <p:grpSpPr>
            <a:xfrm rot="10800000">
              <a:off x="6005797" y="5158010"/>
              <a:ext cx="264225" cy="256228"/>
              <a:chOff x="5936550" y="2543996"/>
              <a:chExt cx="264225" cy="256228"/>
            </a:xfrm>
          </p:grpSpPr>
          <p:sp>
            <p:nvSpPr>
              <p:cNvPr id="71" name="Arrow: Chevron 70">
                <a:extLst>
                  <a:ext uri="{FF2B5EF4-FFF2-40B4-BE49-F238E27FC236}">
                    <a16:creationId xmlns:a16="http://schemas.microsoft.com/office/drawing/2014/main" id="{F2BBFC03-4DCC-4527-8A87-AC9ABFC7F00C}"/>
                  </a:ext>
                </a:extLst>
              </p:cNvPr>
              <p:cNvSpPr/>
              <p:nvPr/>
            </p:nvSpPr>
            <p:spPr>
              <a:xfrm>
                <a:off x="5959410" y="2543996"/>
                <a:ext cx="241365" cy="256228"/>
              </a:xfrm>
              <a:prstGeom prst="chevron">
                <a:avLst>
                  <a:gd name="adj" fmla="val 40583"/>
                </a:avLst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 rtl="0"/>
                <a:endParaRPr lang="en-IN" sz="14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72" name="Arrow: Chevron 71">
                <a:extLst>
                  <a:ext uri="{FF2B5EF4-FFF2-40B4-BE49-F238E27FC236}">
                    <a16:creationId xmlns:a16="http://schemas.microsoft.com/office/drawing/2014/main" id="{29E20E3D-7D54-4FBB-AEB8-6DBE19842B43}"/>
                  </a:ext>
                </a:extLst>
              </p:cNvPr>
              <p:cNvSpPr/>
              <p:nvPr/>
            </p:nvSpPr>
            <p:spPr>
              <a:xfrm>
                <a:off x="5936550" y="2543996"/>
                <a:ext cx="233745" cy="256228"/>
              </a:xfrm>
              <a:prstGeom prst="chevron">
                <a:avLst>
                  <a:gd name="adj" fmla="val 40583"/>
                </a:avLst>
              </a:prstGeom>
              <a:solidFill>
                <a:schemeClr val="tx1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 rtl="0"/>
                <a:endParaRPr lang="en-IN" sz="14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73" name="Arrow: Chevron 72">
                <a:extLst>
                  <a:ext uri="{FF2B5EF4-FFF2-40B4-BE49-F238E27FC236}">
                    <a16:creationId xmlns:a16="http://schemas.microsoft.com/office/drawing/2014/main" id="{FCA35AE7-8946-4152-B60E-54BD8B899CD1}"/>
                  </a:ext>
                </a:extLst>
              </p:cNvPr>
              <p:cNvSpPr/>
              <p:nvPr/>
            </p:nvSpPr>
            <p:spPr>
              <a:xfrm>
                <a:off x="5949885" y="2543996"/>
                <a:ext cx="233745" cy="256228"/>
              </a:xfrm>
              <a:prstGeom prst="chevron">
                <a:avLst>
                  <a:gd name="adj" fmla="val 40583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 rtl="0"/>
                <a:endParaRPr lang="en-IN" sz="1400" b="1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397FAB9C-4F78-4376-A66B-428381F827D3}"/>
                </a:ext>
              </a:extLst>
            </p:cNvPr>
            <p:cNvGrpSpPr/>
            <p:nvPr/>
          </p:nvGrpSpPr>
          <p:grpSpPr>
            <a:xfrm rot="14419133">
              <a:off x="4847697" y="4531909"/>
              <a:ext cx="264225" cy="256228"/>
              <a:chOff x="5936550" y="2543996"/>
              <a:chExt cx="264225" cy="256228"/>
            </a:xfrm>
          </p:grpSpPr>
          <p:sp>
            <p:nvSpPr>
              <p:cNvPr id="75" name="Arrow: Chevron 74">
                <a:extLst>
                  <a:ext uri="{FF2B5EF4-FFF2-40B4-BE49-F238E27FC236}">
                    <a16:creationId xmlns:a16="http://schemas.microsoft.com/office/drawing/2014/main" id="{7759FD11-BFA9-4F8F-9754-9EEA46A9E566}"/>
                  </a:ext>
                </a:extLst>
              </p:cNvPr>
              <p:cNvSpPr/>
              <p:nvPr/>
            </p:nvSpPr>
            <p:spPr>
              <a:xfrm>
                <a:off x="5959410" y="2543996"/>
                <a:ext cx="241365" cy="256228"/>
              </a:xfrm>
              <a:prstGeom prst="chevron">
                <a:avLst>
                  <a:gd name="adj" fmla="val 40583"/>
                </a:avLst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 rtl="0"/>
                <a:endParaRPr lang="en-IN" sz="14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76" name="Arrow: Chevron 75">
                <a:extLst>
                  <a:ext uri="{FF2B5EF4-FFF2-40B4-BE49-F238E27FC236}">
                    <a16:creationId xmlns:a16="http://schemas.microsoft.com/office/drawing/2014/main" id="{2896AB9F-A399-4437-9F61-44AF7EF01273}"/>
                  </a:ext>
                </a:extLst>
              </p:cNvPr>
              <p:cNvSpPr/>
              <p:nvPr/>
            </p:nvSpPr>
            <p:spPr>
              <a:xfrm>
                <a:off x="5936550" y="2543996"/>
                <a:ext cx="233745" cy="256228"/>
              </a:xfrm>
              <a:prstGeom prst="chevron">
                <a:avLst>
                  <a:gd name="adj" fmla="val 40583"/>
                </a:avLst>
              </a:prstGeom>
              <a:solidFill>
                <a:schemeClr val="tx1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 rtl="0"/>
                <a:endParaRPr lang="en-IN" sz="14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77" name="Arrow: Chevron 76">
                <a:extLst>
                  <a:ext uri="{FF2B5EF4-FFF2-40B4-BE49-F238E27FC236}">
                    <a16:creationId xmlns:a16="http://schemas.microsoft.com/office/drawing/2014/main" id="{4D4560BF-A5C5-4DF0-A5F5-2E06726B23A5}"/>
                  </a:ext>
                </a:extLst>
              </p:cNvPr>
              <p:cNvSpPr/>
              <p:nvPr/>
            </p:nvSpPr>
            <p:spPr>
              <a:xfrm>
                <a:off x="5949885" y="2543996"/>
                <a:ext cx="233745" cy="256228"/>
              </a:xfrm>
              <a:prstGeom prst="chevron">
                <a:avLst>
                  <a:gd name="adj" fmla="val 40583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 rtl="0"/>
                <a:endParaRPr lang="en-IN" sz="1400" b="1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D6866B06-A894-478C-BBB7-9B9B85F14CA9}"/>
                </a:ext>
              </a:extLst>
            </p:cNvPr>
            <p:cNvGrpSpPr/>
            <p:nvPr/>
          </p:nvGrpSpPr>
          <p:grpSpPr>
            <a:xfrm rot="18052372">
              <a:off x="4846706" y="3198171"/>
              <a:ext cx="264225" cy="256228"/>
              <a:chOff x="5936550" y="2543996"/>
              <a:chExt cx="264225" cy="256228"/>
            </a:xfrm>
          </p:grpSpPr>
          <p:sp>
            <p:nvSpPr>
              <p:cNvPr id="79" name="Arrow: Chevron 78">
                <a:extLst>
                  <a:ext uri="{FF2B5EF4-FFF2-40B4-BE49-F238E27FC236}">
                    <a16:creationId xmlns:a16="http://schemas.microsoft.com/office/drawing/2014/main" id="{653FFC19-A967-44C7-BE7E-6F12A71E67A3}"/>
                  </a:ext>
                </a:extLst>
              </p:cNvPr>
              <p:cNvSpPr/>
              <p:nvPr/>
            </p:nvSpPr>
            <p:spPr>
              <a:xfrm>
                <a:off x="5959410" y="2543996"/>
                <a:ext cx="241365" cy="256228"/>
              </a:xfrm>
              <a:prstGeom prst="chevron">
                <a:avLst>
                  <a:gd name="adj" fmla="val 40583"/>
                </a:avLst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 rtl="0"/>
                <a:endParaRPr lang="en-IN" sz="14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80" name="Arrow: Chevron 79">
                <a:extLst>
                  <a:ext uri="{FF2B5EF4-FFF2-40B4-BE49-F238E27FC236}">
                    <a16:creationId xmlns:a16="http://schemas.microsoft.com/office/drawing/2014/main" id="{0D7ED469-0F9D-4732-8C62-9CE2F3E06F70}"/>
                  </a:ext>
                </a:extLst>
              </p:cNvPr>
              <p:cNvSpPr/>
              <p:nvPr/>
            </p:nvSpPr>
            <p:spPr>
              <a:xfrm>
                <a:off x="5936550" y="2543996"/>
                <a:ext cx="233745" cy="256228"/>
              </a:xfrm>
              <a:prstGeom prst="chevron">
                <a:avLst>
                  <a:gd name="adj" fmla="val 40583"/>
                </a:avLst>
              </a:prstGeom>
              <a:solidFill>
                <a:schemeClr val="tx1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 rtl="0"/>
                <a:endParaRPr lang="en-IN" sz="14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81" name="Arrow: Chevron 80">
                <a:extLst>
                  <a:ext uri="{FF2B5EF4-FFF2-40B4-BE49-F238E27FC236}">
                    <a16:creationId xmlns:a16="http://schemas.microsoft.com/office/drawing/2014/main" id="{28E235FB-D5FE-4CAE-906B-86E25A02F8B9}"/>
                  </a:ext>
                </a:extLst>
              </p:cNvPr>
              <p:cNvSpPr/>
              <p:nvPr/>
            </p:nvSpPr>
            <p:spPr>
              <a:xfrm>
                <a:off x="5949885" y="2543996"/>
                <a:ext cx="233745" cy="256228"/>
              </a:xfrm>
              <a:prstGeom prst="chevron">
                <a:avLst>
                  <a:gd name="adj" fmla="val 40583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 rtl="0"/>
                <a:endParaRPr lang="en-IN" sz="1400" b="1">
                  <a:solidFill>
                    <a:schemeClr val="bg1"/>
                  </a:solidFill>
                </a:endParaRPr>
              </a:p>
            </p:txBody>
          </p:sp>
        </p:grpSp>
      </p:grp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80232A49-9F58-4D39-B601-6E1EF5FC48C3}"/>
              </a:ext>
            </a:extLst>
          </p:cNvPr>
          <p:cNvCxnSpPr>
            <a:cxnSpLocks/>
          </p:cNvCxnSpPr>
          <p:nvPr/>
        </p:nvCxnSpPr>
        <p:spPr>
          <a:xfrm>
            <a:off x="7036693" y="2154276"/>
            <a:ext cx="431202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D5C6C5B5-5EC5-48E4-A978-8A6F29AD3949}"/>
              </a:ext>
            </a:extLst>
          </p:cNvPr>
          <p:cNvCxnSpPr>
            <a:cxnSpLocks/>
          </p:cNvCxnSpPr>
          <p:nvPr/>
        </p:nvCxnSpPr>
        <p:spPr>
          <a:xfrm>
            <a:off x="7345680" y="5598516"/>
            <a:ext cx="400304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FD70DDF2-DDBE-46DB-901C-6E9CADF8B38A}"/>
              </a:ext>
            </a:extLst>
          </p:cNvPr>
          <p:cNvCxnSpPr>
            <a:cxnSpLocks/>
          </p:cNvCxnSpPr>
          <p:nvPr/>
        </p:nvCxnSpPr>
        <p:spPr>
          <a:xfrm>
            <a:off x="8229600" y="3932276"/>
            <a:ext cx="311912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D5710AD9-6708-4AC6-B343-DD324F2DCA75}"/>
              </a:ext>
            </a:extLst>
          </p:cNvPr>
          <p:cNvCxnSpPr>
            <a:cxnSpLocks/>
          </p:cNvCxnSpPr>
          <p:nvPr/>
        </p:nvCxnSpPr>
        <p:spPr>
          <a:xfrm>
            <a:off x="849253" y="2154276"/>
            <a:ext cx="431202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9DB10380-6196-4776-AF70-05E6BFA7D4C4}"/>
              </a:ext>
            </a:extLst>
          </p:cNvPr>
          <p:cNvCxnSpPr>
            <a:cxnSpLocks/>
          </p:cNvCxnSpPr>
          <p:nvPr/>
        </p:nvCxnSpPr>
        <p:spPr>
          <a:xfrm>
            <a:off x="849253" y="5598516"/>
            <a:ext cx="395642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B94B26DE-9105-4539-B540-F014A1E3DAC6}"/>
              </a:ext>
            </a:extLst>
          </p:cNvPr>
          <p:cNvCxnSpPr>
            <a:cxnSpLocks/>
          </p:cNvCxnSpPr>
          <p:nvPr/>
        </p:nvCxnSpPr>
        <p:spPr>
          <a:xfrm>
            <a:off x="849253" y="3932276"/>
            <a:ext cx="308266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tangle: Top Corners Rounded 90">
            <a:extLst>
              <a:ext uri="{FF2B5EF4-FFF2-40B4-BE49-F238E27FC236}">
                <a16:creationId xmlns:a16="http://schemas.microsoft.com/office/drawing/2014/main" id="{7716E7D0-E760-499D-AE5A-8F38B91C9166}"/>
              </a:ext>
            </a:extLst>
          </p:cNvPr>
          <p:cNvSpPr/>
          <p:nvPr/>
        </p:nvSpPr>
        <p:spPr>
          <a:xfrm rot="16200000">
            <a:off x="11323898" y="1569144"/>
            <a:ext cx="567807" cy="11684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/>
          </a:solidFill>
          <a:ln>
            <a:noFill/>
          </a:ln>
          <a:effectLst>
            <a:outerShdw blurRad="38100" dist="12700" dir="2700000" algn="tl" rotWithShape="0">
              <a:schemeClr val="bg1">
                <a:lumMod val="7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>
              <a:solidFill>
                <a:schemeClr val="bg1"/>
              </a:solidFill>
            </a:endParaRPr>
          </a:p>
        </p:txBody>
      </p:sp>
      <p:sp>
        <p:nvSpPr>
          <p:cNvPr id="92" name="Rectangle: Top Corners Rounded 91">
            <a:extLst>
              <a:ext uri="{FF2B5EF4-FFF2-40B4-BE49-F238E27FC236}">
                <a16:creationId xmlns:a16="http://schemas.microsoft.com/office/drawing/2014/main" id="{D928F1A8-977A-4FFE-B242-E613C4A82DF7}"/>
              </a:ext>
            </a:extLst>
          </p:cNvPr>
          <p:cNvSpPr/>
          <p:nvPr/>
        </p:nvSpPr>
        <p:spPr>
          <a:xfrm rot="16200000">
            <a:off x="11323901" y="3357304"/>
            <a:ext cx="567807" cy="11684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/>
          </a:solidFill>
          <a:ln>
            <a:noFill/>
          </a:ln>
          <a:effectLst>
            <a:outerShdw blurRad="38100" dist="12700" dir="2700000" algn="tl" rotWithShape="0">
              <a:schemeClr val="bg1">
                <a:lumMod val="7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>
              <a:solidFill>
                <a:schemeClr val="bg1"/>
              </a:solidFill>
            </a:endParaRPr>
          </a:p>
        </p:txBody>
      </p:sp>
      <p:sp>
        <p:nvSpPr>
          <p:cNvPr id="93" name="Rectangle: Top Corners Rounded 92">
            <a:extLst>
              <a:ext uri="{FF2B5EF4-FFF2-40B4-BE49-F238E27FC236}">
                <a16:creationId xmlns:a16="http://schemas.microsoft.com/office/drawing/2014/main" id="{8A4C8660-F6C2-4792-8D0D-A231C2817C12}"/>
              </a:ext>
            </a:extLst>
          </p:cNvPr>
          <p:cNvSpPr/>
          <p:nvPr/>
        </p:nvSpPr>
        <p:spPr>
          <a:xfrm rot="16200000">
            <a:off x="11323901" y="5023544"/>
            <a:ext cx="567807" cy="11684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/>
          </a:solidFill>
          <a:ln>
            <a:noFill/>
          </a:ln>
          <a:effectLst>
            <a:outerShdw blurRad="38100" dist="12700" dir="2700000" algn="tl" rotWithShape="0">
              <a:schemeClr val="bg1">
                <a:lumMod val="7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>
              <a:solidFill>
                <a:schemeClr val="bg1"/>
              </a:solidFill>
            </a:endParaRPr>
          </a:p>
        </p:txBody>
      </p:sp>
      <p:sp>
        <p:nvSpPr>
          <p:cNvPr id="94" name="Rectangle: Top Corners Rounded 93">
            <a:extLst>
              <a:ext uri="{FF2B5EF4-FFF2-40B4-BE49-F238E27FC236}">
                <a16:creationId xmlns:a16="http://schemas.microsoft.com/office/drawing/2014/main" id="{20758FFD-B2F3-44C5-A405-8AF66840806A}"/>
              </a:ext>
            </a:extLst>
          </p:cNvPr>
          <p:cNvSpPr/>
          <p:nvPr/>
        </p:nvSpPr>
        <p:spPr>
          <a:xfrm rot="5400000" flipH="1">
            <a:off x="300301" y="1569144"/>
            <a:ext cx="567807" cy="11684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/>
          </a:solidFill>
          <a:ln>
            <a:noFill/>
          </a:ln>
          <a:effectLst>
            <a:outerShdw blurRad="38100" dist="12700" dir="2700000" algn="tl" rotWithShape="0">
              <a:schemeClr val="bg1">
                <a:lumMod val="7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>
              <a:solidFill>
                <a:schemeClr val="bg1"/>
              </a:solidFill>
            </a:endParaRPr>
          </a:p>
        </p:txBody>
      </p:sp>
      <p:sp>
        <p:nvSpPr>
          <p:cNvPr id="95" name="Rectangle: Top Corners Rounded 94">
            <a:extLst>
              <a:ext uri="{FF2B5EF4-FFF2-40B4-BE49-F238E27FC236}">
                <a16:creationId xmlns:a16="http://schemas.microsoft.com/office/drawing/2014/main" id="{89DE0C07-E5BF-4087-9EC9-53888349207B}"/>
              </a:ext>
            </a:extLst>
          </p:cNvPr>
          <p:cNvSpPr/>
          <p:nvPr/>
        </p:nvSpPr>
        <p:spPr>
          <a:xfrm rot="5400000" flipH="1">
            <a:off x="300298" y="3357304"/>
            <a:ext cx="567807" cy="11684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/>
          </a:solidFill>
          <a:ln>
            <a:noFill/>
          </a:ln>
          <a:effectLst>
            <a:outerShdw blurRad="38100" dist="12700" dir="2700000" algn="tl" rotWithShape="0">
              <a:schemeClr val="bg1">
                <a:lumMod val="7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>
              <a:solidFill>
                <a:schemeClr val="bg1"/>
              </a:solidFill>
            </a:endParaRPr>
          </a:p>
        </p:txBody>
      </p:sp>
      <p:sp>
        <p:nvSpPr>
          <p:cNvPr id="96" name="Rectangle: Top Corners Rounded 95">
            <a:extLst>
              <a:ext uri="{FF2B5EF4-FFF2-40B4-BE49-F238E27FC236}">
                <a16:creationId xmlns:a16="http://schemas.microsoft.com/office/drawing/2014/main" id="{8A890A99-175D-42D1-A834-7C14ED5FF270}"/>
              </a:ext>
            </a:extLst>
          </p:cNvPr>
          <p:cNvSpPr/>
          <p:nvPr/>
        </p:nvSpPr>
        <p:spPr>
          <a:xfrm rot="5400000" flipH="1">
            <a:off x="300298" y="5023544"/>
            <a:ext cx="567807" cy="11684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/>
          </a:solidFill>
          <a:ln>
            <a:noFill/>
          </a:ln>
          <a:effectLst>
            <a:outerShdw blurRad="38100" dist="12700" dir="2700000" algn="tl" rotWithShape="0">
              <a:schemeClr val="bg1">
                <a:lumMod val="7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>
              <a:solidFill>
                <a:schemeClr val="bg1"/>
              </a:solidFill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58C22CBA-45A8-4C6B-ACC3-C8486DDDD518}"/>
              </a:ext>
            </a:extLst>
          </p:cNvPr>
          <p:cNvSpPr/>
          <p:nvPr/>
        </p:nvSpPr>
        <p:spPr>
          <a:xfrm rot="16200000">
            <a:off x="11867461" y="2112704"/>
            <a:ext cx="567807" cy="8128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>
              <a:solidFill>
                <a:schemeClr val="bg1"/>
              </a:solidFill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B81D910A-295C-40B9-9322-0B22C9942928}"/>
              </a:ext>
            </a:extLst>
          </p:cNvPr>
          <p:cNvSpPr/>
          <p:nvPr/>
        </p:nvSpPr>
        <p:spPr>
          <a:xfrm rot="16200000">
            <a:off x="11867461" y="3900864"/>
            <a:ext cx="567807" cy="8128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>
              <a:solidFill>
                <a:schemeClr val="bg1"/>
              </a:solidFill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10F22742-5A4E-4E61-B54D-9C3568F1351D}"/>
              </a:ext>
            </a:extLst>
          </p:cNvPr>
          <p:cNvSpPr/>
          <p:nvPr/>
        </p:nvSpPr>
        <p:spPr>
          <a:xfrm rot="16200000">
            <a:off x="11867461" y="5567104"/>
            <a:ext cx="567807" cy="8128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>
              <a:solidFill>
                <a:schemeClr val="bg1"/>
              </a:solidFill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CCF29276-5E9F-4E79-9579-976A34F48D0A}"/>
              </a:ext>
            </a:extLst>
          </p:cNvPr>
          <p:cNvSpPr/>
          <p:nvPr/>
        </p:nvSpPr>
        <p:spPr>
          <a:xfrm rot="5400000" flipH="1">
            <a:off x="-243262" y="2112706"/>
            <a:ext cx="567807" cy="8127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>
              <a:solidFill>
                <a:schemeClr val="bg1"/>
              </a:solidFill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142D4833-FCF8-43C1-82A4-8CE2A07043B1}"/>
              </a:ext>
            </a:extLst>
          </p:cNvPr>
          <p:cNvSpPr/>
          <p:nvPr/>
        </p:nvSpPr>
        <p:spPr>
          <a:xfrm rot="5400000" flipH="1">
            <a:off x="-243264" y="3900866"/>
            <a:ext cx="567807" cy="8127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>
              <a:solidFill>
                <a:schemeClr val="bg1"/>
              </a:solidFill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697BB7D3-C038-4573-A945-661489F7F239}"/>
              </a:ext>
            </a:extLst>
          </p:cNvPr>
          <p:cNvSpPr/>
          <p:nvPr/>
        </p:nvSpPr>
        <p:spPr>
          <a:xfrm rot="5400000" flipH="1">
            <a:off x="-243264" y="5567106"/>
            <a:ext cx="567807" cy="81279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>
              <a:solidFill>
                <a:schemeClr val="bg1"/>
              </a:solidFill>
            </a:endParaRPr>
          </a:p>
        </p:txBody>
      </p:sp>
      <p:sp>
        <p:nvSpPr>
          <p:cNvPr id="110" name="Text Placeholder 38">
            <a:extLst>
              <a:ext uri="{FF2B5EF4-FFF2-40B4-BE49-F238E27FC236}">
                <a16:creationId xmlns:a16="http://schemas.microsoft.com/office/drawing/2014/main" id="{4751A94D-1F6E-4172-8CA7-42788EDC8E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0161" y="2187797"/>
            <a:ext cx="2733963" cy="737927"/>
          </a:xfrm>
        </p:spPr>
        <p:txBody>
          <a:bodyPr lIns="0" rIns="0" anchor="t"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ontent</a:t>
            </a:r>
            <a:endParaRPr lang="en-IN"/>
          </a:p>
        </p:txBody>
      </p:sp>
      <p:sp>
        <p:nvSpPr>
          <p:cNvPr id="111" name="Text Placeholder 6">
            <a:extLst>
              <a:ext uri="{FF2B5EF4-FFF2-40B4-BE49-F238E27FC236}">
                <a16:creationId xmlns:a16="http://schemas.microsoft.com/office/drawing/2014/main" id="{E3AE0D70-C272-45F0-8CA0-B1B86E6476E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49522" y="2630579"/>
            <a:ext cx="866895" cy="572104"/>
          </a:xfrm>
        </p:spPr>
        <p:txBody>
          <a:bodyPr lIns="0" rIns="0" anchor="ctr">
            <a:norm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endParaRPr lang="en-IN"/>
          </a:p>
        </p:txBody>
      </p:sp>
      <p:sp>
        <p:nvSpPr>
          <p:cNvPr id="112" name="Text Placeholder 6">
            <a:extLst>
              <a:ext uri="{FF2B5EF4-FFF2-40B4-BE49-F238E27FC236}">
                <a16:creationId xmlns:a16="http://schemas.microsoft.com/office/drawing/2014/main" id="{0E48BC98-F761-4F93-B3CA-81FED4563E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68722" y="2630579"/>
            <a:ext cx="866895" cy="572104"/>
          </a:xfrm>
        </p:spPr>
        <p:txBody>
          <a:bodyPr lIns="0" rIns="0" anchor="ctr">
            <a:norm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endParaRPr lang="en-IN"/>
          </a:p>
        </p:txBody>
      </p:sp>
      <p:sp>
        <p:nvSpPr>
          <p:cNvPr id="113" name="Text Placeholder 6">
            <a:extLst>
              <a:ext uri="{FF2B5EF4-FFF2-40B4-BE49-F238E27FC236}">
                <a16:creationId xmlns:a16="http://schemas.microsoft.com/office/drawing/2014/main" id="{83DB1693-A46E-4BC3-AFCE-BD599946FA1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50082" y="3687219"/>
            <a:ext cx="866895" cy="572104"/>
          </a:xfrm>
        </p:spPr>
        <p:txBody>
          <a:bodyPr lIns="0" rIns="0" anchor="ctr">
            <a:normAutofit/>
          </a:bodyPr>
          <a:lstStyle>
            <a:lvl1pPr marL="0" indent="0" algn="ctr"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  <a:endParaRPr lang="en-IN"/>
          </a:p>
        </p:txBody>
      </p:sp>
      <p:sp>
        <p:nvSpPr>
          <p:cNvPr id="114" name="Text Placeholder 6">
            <a:extLst>
              <a:ext uri="{FF2B5EF4-FFF2-40B4-BE49-F238E27FC236}">
                <a16:creationId xmlns:a16="http://schemas.microsoft.com/office/drawing/2014/main" id="{45B10EBC-2D75-4255-9E4A-4BF99BE9F42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869714" y="3684179"/>
            <a:ext cx="866895" cy="572104"/>
          </a:xfrm>
        </p:spPr>
        <p:txBody>
          <a:bodyPr lIns="0" rIns="0" anchor="ctr">
            <a:norm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endParaRPr lang="en-IN"/>
          </a:p>
        </p:txBody>
      </p:sp>
      <p:sp>
        <p:nvSpPr>
          <p:cNvPr id="115" name="Text Placeholder 6">
            <a:extLst>
              <a:ext uri="{FF2B5EF4-FFF2-40B4-BE49-F238E27FC236}">
                <a16:creationId xmlns:a16="http://schemas.microsoft.com/office/drawing/2014/main" id="{7F84DD48-2A16-41D0-96A3-19FDA3DB74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049522" y="4754019"/>
            <a:ext cx="866895" cy="572104"/>
          </a:xfrm>
        </p:spPr>
        <p:txBody>
          <a:bodyPr lIns="0" rIns="0" anchor="ctr">
            <a:norm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endParaRPr lang="en-IN"/>
          </a:p>
        </p:txBody>
      </p:sp>
      <p:sp>
        <p:nvSpPr>
          <p:cNvPr id="116" name="Text Placeholder 6">
            <a:extLst>
              <a:ext uri="{FF2B5EF4-FFF2-40B4-BE49-F238E27FC236}">
                <a16:creationId xmlns:a16="http://schemas.microsoft.com/office/drawing/2014/main" id="{06C1CFDA-5A20-4019-BC1E-4E81C4649E1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68722" y="4754019"/>
            <a:ext cx="866895" cy="572104"/>
          </a:xfrm>
        </p:spPr>
        <p:txBody>
          <a:bodyPr lIns="0" rIns="0" anchor="ctr">
            <a:norm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endParaRPr lang="en-IN"/>
          </a:p>
        </p:txBody>
      </p:sp>
      <p:sp>
        <p:nvSpPr>
          <p:cNvPr id="117" name="Text Placeholder 38">
            <a:extLst>
              <a:ext uri="{FF2B5EF4-FFF2-40B4-BE49-F238E27FC236}">
                <a16:creationId xmlns:a16="http://schemas.microsoft.com/office/drawing/2014/main" id="{1C368A3C-1409-49D0-A63D-6624FF5FEA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280161" y="3975957"/>
            <a:ext cx="2733963" cy="737927"/>
          </a:xfrm>
        </p:spPr>
        <p:txBody>
          <a:bodyPr lIns="0" rIns="0" anchor="t"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ontent</a:t>
            </a:r>
            <a:endParaRPr lang="en-IN"/>
          </a:p>
        </p:txBody>
      </p:sp>
      <p:sp>
        <p:nvSpPr>
          <p:cNvPr id="118" name="Text Placeholder 38">
            <a:extLst>
              <a:ext uri="{FF2B5EF4-FFF2-40B4-BE49-F238E27FC236}">
                <a16:creationId xmlns:a16="http://schemas.microsoft.com/office/drawing/2014/main" id="{F081410C-3CDE-4FE9-9BC5-DA454C24A70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280161" y="5642197"/>
            <a:ext cx="2733963" cy="737927"/>
          </a:xfrm>
        </p:spPr>
        <p:txBody>
          <a:bodyPr lIns="0" rIns="0" anchor="t"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ontent</a:t>
            </a:r>
            <a:endParaRPr lang="en-IN"/>
          </a:p>
        </p:txBody>
      </p:sp>
      <p:sp>
        <p:nvSpPr>
          <p:cNvPr id="119" name="Text Placeholder 38">
            <a:extLst>
              <a:ext uri="{FF2B5EF4-FFF2-40B4-BE49-F238E27FC236}">
                <a16:creationId xmlns:a16="http://schemas.microsoft.com/office/drawing/2014/main" id="{C74AF21B-6F30-44DD-B90F-F075DDA465C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19441" y="2187797"/>
            <a:ext cx="2733963" cy="737927"/>
          </a:xfrm>
        </p:spPr>
        <p:txBody>
          <a:bodyPr lIns="0" rIns="0" anchor="t"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ontent</a:t>
            </a:r>
            <a:endParaRPr lang="en-IN"/>
          </a:p>
        </p:txBody>
      </p:sp>
      <p:sp>
        <p:nvSpPr>
          <p:cNvPr id="120" name="Text Placeholder 38">
            <a:extLst>
              <a:ext uri="{FF2B5EF4-FFF2-40B4-BE49-F238E27FC236}">
                <a16:creationId xmlns:a16="http://schemas.microsoft.com/office/drawing/2014/main" id="{A5566E64-E1A9-4D7F-9537-62B447F89F6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19441" y="3975957"/>
            <a:ext cx="2733963" cy="737927"/>
          </a:xfrm>
        </p:spPr>
        <p:txBody>
          <a:bodyPr lIns="0" rIns="0" anchor="t"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ontent</a:t>
            </a:r>
            <a:endParaRPr lang="en-IN"/>
          </a:p>
        </p:txBody>
      </p:sp>
      <p:sp>
        <p:nvSpPr>
          <p:cNvPr id="121" name="Text Placeholder 38">
            <a:extLst>
              <a:ext uri="{FF2B5EF4-FFF2-40B4-BE49-F238E27FC236}">
                <a16:creationId xmlns:a16="http://schemas.microsoft.com/office/drawing/2014/main" id="{79EEB4BB-FE3F-4BEA-9B07-B3CB6A7FC1E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219441" y="5642197"/>
            <a:ext cx="2733963" cy="737927"/>
          </a:xfrm>
        </p:spPr>
        <p:txBody>
          <a:bodyPr lIns="0" rIns="0" anchor="t"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ontent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5765347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E02CA5-6A57-4C27-B743-7967296414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446DDC8-4A75-4CA4-81C0-696D24E8860F}"/>
              </a:ext>
            </a:extLst>
          </p:cNvPr>
          <p:cNvGrpSpPr/>
          <p:nvPr userDrawn="1"/>
        </p:nvGrpSpPr>
        <p:grpSpPr>
          <a:xfrm>
            <a:off x="3890055" y="1863015"/>
            <a:ext cx="4411891" cy="4396498"/>
            <a:chOff x="3043145" y="256401"/>
            <a:chExt cx="6332495" cy="6310405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9C2542A9-0761-406F-968B-CD25F71019FF}"/>
                </a:ext>
              </a:extLst>
            </p:cNvPr>
            <p:cNvSpPr/>
            <p:nvPr userDrawn="1"/>
          </p:nvSpPr>
          <p:spPr>
            <a:xfrm>
              <a:off x="4760686" y="256401"/>
              <a:ext cx="1335314" cy="3052855"/>
            </a:xfrm>
            <a:custGeom>
              <a:avLst/>
              <a:gdLst>
                <a:gd name="connsiteX0" fmla="*/ 1335314 w 1335314"/>
                <a:gd name="connsiteY0" fmla="*/ 0 h 3052855"/>
                <a:gd name="connsiteX1" fmla="*/ 1335314 w 1335314"/>
                <a:gd name="connsiteY1" fmla="*/ 3052855 h 3052855"/>
                <a:gd name="connsiteX2" fmla="*/ 0 w 1335314"/>
                <a:gd name="connsiteY2" fmla="*/ 3052855 h 3052855"/>
                <a:gd name="connsiteX3" fmla="*/ 0 w 1335314"/>
                <a:gd name="connsiteY3" fmla="*/ 774482 h 3052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5314" h="3052855">
                  <a:moveTo>
                    <a:pt x="1335314" y="0"/>
                  </a:moveTo>
                  <a:lnTo>
                    <a:pt x="1335314" y="3052855"/>
                  </a:lnTo>
                  <a:lnTo>
                    <a:pt x="0" y="3052855"/>
                  </a:lnTo>
                  <a:lnTo>
                    <a:pt x="0" y="77448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IN" sz="1400" b="1" dirty="0">
                <a:solidFill>
                  <a:schemeClr val="accent2"/>
                </a:solidFill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8BCA1CB3-AEB7-4AA7-A1D5-F3C7780C7BB8}"/>
                </a:ext>
              </a:extLst>
            </p:cNvPr>
            <p:cNvSpPr/>
            <p:nvPr userDrawn="1"/>
          </p:nvSpPr>
          <p:spPr>
            <a:xfrm rot="10800000">
              <a:off x="6322786" y="3513951"/>
              <a:ext cx="1335314" cy="3052855"/>
            </a:xfrm>
            <a:custGeom>
              <a:avLst/>
              <a:gdLst>
                <a:gd name="connsiteX0" fmla="*/ 1335314 w 1335314"/>
                <a:gd name="connsiteY0" fmla="*/ 0 h 3052855"/>
                <a:gd name="connsiteX1" fmla="*/ 1335314 w 1335314"/>
                <a:gd name="connsiteY1" fmla="*/ 3052855 h 3052855"/>
                <a:gd name="connsiteX2" fmla="*/ 0 w 1335314"/>
                <a:gd name="connsiteY2" fmla="*/ 3052855 h 3052855"/>
                <a:gd name="connsiteX3" fmla="*/ 0 w 1335314"/>
                <a:gd name="connsiteY3" fmla="*/ 774482 h 3052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5314" h="3052855">
                  <a:moveTo>
                    <a:pt x="1335314" y="0"/>
                  </a:moveTo>
                  <a:lnTo>
                    <a:pt x="1335314" y="3052855"/>
                  </a:lnTo>
                  <a:lnTo>
                    <a:pt x="0" y="3052855"/>
                  </a:lnTo>
                  <a:lnTo>
                    <a:pt x="0" y="774482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IN" sz="1400" b="1" dirty="0">
                <a:solidFill>
                  <a:schemeClr val="accent2"/>
                </a:solidFill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F41BC919-2A39-4BD4-90B5-6BCADD0589E4}"/>
                </a:ext>
              </a:extLst>
            </p:cNvPr>
            <p:cNvSpPr/>
            <p:nvPr userDrawn="1"/>
          </p:nvSpPr>
          <p:spPr>
            <a:xfrm rot="5400000">
              <a:off x="7181556" y="1075893"/>
              <a:ext cx="1335314" cy="3052855"/>
            </a:xfrm>
            <a:custGeom>
              <a:avLst/>
              <a:gdLst>
                <a:gd name="connsiteX0" fmla="*/ 1335314 w 1335314"/>
                <a:gd name="connsiteY0" fmla="*/ 0 h 3052855"/>
                <a:gd name="connsiteX1" fmla="*/ 1335314 w 1335314"/>
                <a:gd name="connsiteY1" fmla="*/ 3052855 h 3052855"/>
                <a:gd name="connsiteX2" fmla="*/ 0 w 1335314"/>
                <a:gd name="connsiteY2" fmla="*/ 3052855 h 3052855"/>
                <a:gd name="connsiteX3" fmla="*/ 0 w 1335314"/>
                <a:gd name="connsiteY3" fmla="*/ 774482 h 3052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5314" h="3052855">
                  <a:moveTo>
                    <a:pt x="1335314" y="0"/>
                  </a:moveTo>
                  <a:lnTo>
                    <a:pt x="1335314" y="3052855"/>
                  </a:lnTo>
                  <a:lnTo>
                    <a:pt x="0" y="3052855"/>
                  </a:lnTo>
                  <a:lnTo>
                    <a:pt x="0" y="77448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IN" sz="1400" b="1" dirty="0">
                <a:solidFill>
                  <a:schemeClr val="accent2"/>
                </a:solidFill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E9687766-C6DD-44D1-A437-AD31CBBC6BAB}"/>
                </a:ext>
              </a:extLst>
            </p:cNvPr>
            <p:cNvSpPr/>
            <p:nvPr userDrawn="1"/>
          </p:nvSpPr>
          <p:spPr>
            <a:xfrm rot="16200000">
              <a:off x="3901916" y="2655181"/>
              <a:ext cx="1335314" cy="3052855"/>
            </a:xfrm>
            <a:custGeom>
              <a:avLst/>
              <a:gdLst>
                <a:gd name="connsiteX0" fmla="*/ 1335314 w 1335314"/>
                <a:gd name="connsiteY0" fmla="*/ 0 h 3052855"/>
                <a:gd name="connsiteX1" fmla="*/ 1335314 w 1335314"/>
                <a:gd name="connsiteY1" fmla="*/ 3052855 h 3052855"/>
                <a:gd name="connsiteX2" fmla="*/ 0 w 1335314"/>
                <a:gd name="connsiteY2" fmla="*/ 3052855 h 3052855"/>
                <a:gd name="connsiteX3" fmla="*/ 0 w 1335314"/>
                <a:gd name="connsiteY3" fmla="*/ 774482 h 3052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5314" h="3052855">
                  <a:moveTo>
                    <a:pt x="1335314" y="0"/>
                  </a:moveTo>
                  <a:lnTo>
                    <a:pt x="1335314" y="3052855"/>
                  </a:lnTo>
                  <a:lnTo>
                    <a:pt x="0" y="3052855"/>
                  </a:lnTo>
                  <a:lnTo>
                    <a:pt x="0" y="774482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IN" sz="1400" b="1" dirty="0">
                <a:solidFill>
                  <a:schemeClr val="accent2"/>
                </a:solidFill>
              </a:endParaRPr>
            </a:p>
          </p:txBody>
        </p:sp>
      </p:grp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476F5E6D-0EF2-45CF-92CB-42A508B8FC61}"/>
              </a:ext>
            </a:extLst>
          </p:cNvPr>
          <p:cNvCxnSpPr>
            <a:cxnSpLocks/>
            <a:endCxn id="76" idx="0"/>
          </p:cNvCxnSpPr>
          <p:nvPr userDrawn="1"/>
        </p:nvCxnSpPr>
        <p:spPr>
          <a:xfrm>
            <a:off x="843282" y="4127939"/>
            <a:ext cx="304677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265C0FD5-CD60-4ED0-B155-2E0FF56397EE}"/>
              </a:ext>
            </a:extLst>
          </p:cNvPr>
          <p:cNvCxnSpPr>
            <a:cxnSpLocks/>
            <a:stCxn id="75" idx="0"/>
          </p:cNvCxnSpPr>
          <p:nvPr userDrawn="1"/>
        </p:nvCxnSpPr>
        <p:spPr>
          <a:xfrm flipV="1">
            <a:off x="8301947" y="3956489"/>
            <a:ext cx="308428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400B4AEB-2BE7-44FA-A8CB-8F197CD302A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1" y="1798638"/>
            <a:ext cx="3706865" cy="411160"/>
          </a:xfrm>
        </p:spPr>
        <p:txBody>
          <a:bodyPr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82" name="Text Placeholder 19">
            <a:extLst>
              <a:ext uri="{FF2B5EF4-FFF2-40B4-BE49-F238E27FC236}">
                <a16:creationId xmlns:a16="http://schemas.microsoft.com/office/drawing/2014/main" id="{02E60059-AE8D-438A-8C5F-E717F28C7BC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8201" y="2306639"/>
            <a:ext cx="3706865" cy="1649851"/>
          </a:xfrm>
        </p:spPr>
        <p:txBody>
          <a:bodyPr>
            <a:noAutofit/>
          </a:bodyPr>
          <a:lstStyle>
            <a:lvl1pPr marL="0" indent="0">
              <a:buNone/>
              <a:defRPr sz="2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83" name="Text Placeholder 19">
            <a:extLst>
              <a:ext uri="{FF2B5EF4-FFF2-40B4-BE49-F238E27FC236}">
                <a16:creationId xmlns:a16="http://schemas.microsoft.com/office/drawing/2014/main" id="{BAE91468-0597-42E0-A5A7-23A2283B6B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4131749"/>
            <a:ext cx="3073400" cy="1545151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84" name="Text Placeholder 19">
            <a:extLst>
              <a:ext uri="{FF2B5EF4-FFF2-40B4-BE49-F238E27FC236}">
                <a16:creationId xmlns:a16="http://schemas.microsoft.com/office/drawing/2014/main" id="{8E491CF1-D918-4C21-9946-2BF0E3B3FC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5773738"/>
            <a:ext cx="3073400" cy="411160"/>
          </a:xfr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chemeClr val="accent4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92" name="Text Placeholder 19">
            <a:extLst>
              <a:ext uri="{FF2B5EF4-FFF2-40B4-BE49-F238E27FC236}">
                <a16:creationId xmlns:a16="http://schemas.microsoft.com/office/drawing/2014/main" id="{DDC8CB31-DF39-4FE1-9B26-4FEA79CEBFE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94600" y="4356100"/>
            <a:ext cx="3759200" cy="1320798"/>
          </a:xfrm>
        </p:spPr>
        <p:txBody>
          <a:bodyPr anchor="b">
            <a:noAutofit/>
          </a:bodyPr>
          <a:lstStyle>
            <a:lvl1pPr marL="0" indent="0" algn="r">
              <a:buNone/>
              <a:defRPr sz="2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93" name="Text Placeholder 19">
            <a:extLst>
              <a:ext uri="{FF2B5EF4-FFF2-40B4-BE49-F238E27FC236}">
                <a16:creationId xmlns:a16="http://schemas.microsoft.com/office/drawing/2014/main" id="{A97606C9-D9CF-41FE-BCB8-D9894F9A83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94600" y="5773738"/>
            <a:ext cx="3759200" cy="411160"/>
          </a:xfrm>
        </p:spPr>
        <p:txBody>
          <a:bodyPr>
            <a:noAutofit/>
          </a:bodyPr>
          <a:lstStyle>
            <a:lvl1pPr marL="0" indent="0" algn="r">
              <a:buNone/>
              <a:defRPr sz="28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94" name="Text Placeholder 19">
            <a:extLst>
              <a:ext uri="{FF2B5EF4-FFF2-40B4-BE49-F238E27FC236}">
                <a16:creationId xmlns:a16="http://schemas.microsoft.com/office/drawing/2014/main" id="{0FCC9962-4C5D-409C-A707-762395DB119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93101" y="1798638"/>
            <a:ext cx="3060700" cy="411160"/>
          </a:xfrm>
        </p:spPr>
        <p:txBody>
          <a:bodyPr/>
          <a:lstStyle>
            <a:lvl1pPr marL="0" indent="0" algn="r">
              <a:buNone/>
              <a:defRPr b="1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95" name="Text Placeholder 19">
            <a:extLst>
              <a:ext uri="{FF2B5EF4-FFF2-40B4-BE49-F238E27FC236}">
                <a16:creationId xmlns:a16="http://schemas.microsoft.com/office/drawing/2014/main" id="{8C208BEE-8560-4F82-ACD6-1890C78B3CB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93101" y="2306639"/>
            <a:ext cx="3060700" cy="1649851"/>
          </a:xfrm>
        </p:spPr>
        <p:txBody>
          <a:bodyPr>
            <a:noAutofit/>
          </a:bodyPr>
          <a:lstStyle>
            <a:lvl1pPr marL="0" indent="0" algn="r">
              <a:buNone/>
              <a:defRPr sz="2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Content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FEB85A2D-75ED-40F2-80CE-40C0B5D409F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2899" y="2895601"/>
            <a:ext cx="473476" cy="473471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35B4584E-6084-4791-9C00-2CB1A2C3CFC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21383" y="4610101"/>
            <a:ext cx="628455" cy="609599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DE5FDFD7-5871-4A70-A999-83134967865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6482" y="3230017"/>
            <a:ext cx="490620" cy="561755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1C5FEF68-2600-44BF-8FD2-AA278B264B5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7448" y="4336192"/>
            <a:ext cx="410352" cy="547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101395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E02CA5-6A57-4C27-B743-7967296414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1AE7F856-1808-47FE-91E7-4F6747826689}"/>
              </a:ext>
            </a:extLst>
          </p:cNvPr>
          <p:cNvCxnSpPr>
            <a:cxnSpLocks/>
            <a:stCxn id="67" idx="4"/>
          </p:cNvCxnSpPr>
          <p:nvPr userDrawn="1"/>
        </p:nvCxnSpPr>
        <p:spPr>
          <a:xfrm flipH="1">
            <a:off x="9711792" y="4757462"/>
            <a:ext cx="1" cy="402037"/>
          </a:xfrm>
          <a:prstGeom prst="line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7507C0DF-039B-4CFF-94C0-9290E3823DE4}"/>
              </a:ext>
            </a:extLst>
          </p:cNvPr>
          <p:cNvCxnSpPr>
            <a:cxnSpLocks/>
            <a:stCxn id="65" idx="4"/>
          </p:cNvCxnSpPr>
          <p:nvPr userDrawn="1"/>
        </p:nvCxnSpPr>
        <p:spPr>
          <a:xfrm>
            <a:off x="6096000" y="4757462"/>
            <a:ext cx="0" cy="402037"/>
          </a:xfrm>
          <a:prstGeom prst="line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5C5842DD-507D-453F-8A22-73ACC1426B64}"/>
              </a:ext>
            </a:extLst>
          </p:cNvPr>
          <p:cNvCxnSpPr>
            <a:cxnSpLocks/>
            <a:endCxn id="82" idx="0"/>
          </p:cNvCxnSpPr>
          <p:nvPr userDrawn="1"/>
        </p:nvCxnSpPr>
        <p:spPr>
          <a:xfrm>
            <a:off x="7900887" y="2797246"/>
            <a:ext cx="3008" cy="442881"/>
          </a:xfrm>
          <a:prstGeom prst="line">
            <a:avLst/>
          </a:pr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86EC2B7-E151-4875-9B42-B04BEF751CA6}"/>
              </a:ext>
            </a:extLst>
          </p:cNvPr>
          <p:cNvCxnSpPr>
            <a:cxnSpLocks/>
            <a:endCxn id="80" idx="0"/>
          </p:cNvCxnSpPr>
          <p:nvPr userDrawn="1"/>
        </p:nvCxnSpPr>
        <p:spPr>
          <a:xfrm>
            <a:off x="4288106" y="2797246"/>
            <a:ext cx="1" cy="442881"/>
          </a:xfrm>
          <a:prstGeom prst="line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99780F37-7A4C-4E5A-88CF-F30C2CC63746}"/>
              </a:ext>
            </a:extLst>
          </p:cNvPr>
          <p:cNvCxnSpPr>
            <a:cxnSpLocks/>
            <a:stCxn id="63" idx="4"/>
          </p:cNvCxnSpPr>
          <p:nvPr userDrawn="1"/>
        </p:nvCxnSpPr>
        <p:spPr>
          <a:xfrm>
            <a:off x="2480209" y="4757462"/>
            <a:ext cx="0" cy="402037"/>
          </a:xfrm>
          <a:prstGeom prst="line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2" name="Arc 41">
            <a:extLst>
              <a:ext uri="{FF2B5EF4-FFF2-40B4-BE49-F238E27FC236}">
                <a16:creationId xmlns:a16="http://schemas.microsoft.com/office/drawing/2014/main" id="{47426BC8-2576-4BAF-A590-8E7C87F16C7C}"/>
              </a:ext>
            </a:extLst>
          </p:cNvPr>
          <p:cNvSpPr/>
          <p:nvPr userDrawn="1"/>
        </p:nvSpPr>
        <p:spPr>
          <a:xfrm>
            <a:off x="1579272" y="3077434"/>
            <a:ext cx="1801877" cy="1801874"/>
          </a:xfrm>
          <a:prstGeom prst="arc">
            <a:avLst>
              <a:gd name="adj1" fmla="val 77042"/>
              <a:gd name="adj2" fmla="val 10761043"/>
            </a:avLst>
          </a:pr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43" name="Arc 42">
            <a:extLst>
              <a:ext uri="{FF2B5EF4-FFF2-40B4-BE49-F238E27FC236}">
                <a16:creationId xmlns:a16="http://schemas.microsoft.com/office/drawing/2014/main" id="{68872EAE-2501-466A-8768-3FFA4D3F1BDA}"/>
              </a:ext>
            </a:extLst>
          </p:cNvPr>
          <p:cNvSpPr/>
          <p:nvPr userDrawn="1"/>
        </p:nvSpPr>
        <p:spPr>
          <a:xfrm flipV="1">
            <a:off x="3387168" y="3077434"/>
            <a:ext cx="1801877" cy="1801874"/>
          </a:xfrm>
          <a:prstGeom prst="arc">
            <a:avLst>
              <a:gd name="adj1" fmla="val 77042"/>
              <a:gd name="adj2" fmla="val 10761043"/>
            </a:avLst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60" name="Arc 59">
            <a:extLst>
              <a:ext uri="{FF2B5EF4-FFF2-40B4-BE49-F238E27FC236}">
                <a16:creationId xmlns:a16="http://schemas.microsoft.com/office/drawing/2014/main" id="{BAC87C54-6BC6-4AAD-A55F-A368D26BFF4E}"/>
              </a:ext>
            </a:extLst>
          </p:cNvPr>
          <p:cNvSpPr/>
          <p:nvPr userDrawn="1"/>
        </p:nvSpPr>
        <p:spPr>
          <a:xfrm>
            <a:off x="5195063" y="3077434"/>
            <a:ext cx="1801877" cy="1801874"/>
          </a:xfrm>
          <a:prstGeom prst="arc">
            <a:avLst>
              <a:gd name="adj1" fmla="val 77042"/>
              <a:gd name="adj2" fmla="val 10761043"/>
            </a:avLst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61" name="Arc 60">
            <a:extLst>
              <a:ext uri="{FF2B5EF4-FFF2-40B4-BE49-F238E27FC236}">
                <a16:creationId xmlns:a16="http://schemas.microsoft.com/office/drawing/2014/main" id="{174129EC-92BC-4FEB-8E7B-88FEA78F8DB9}"/>
              </a:ext>
            </a:extLst>
          </p:cNvPr>
          <p:cNvSpPr/>
          <p:nvPr userDrawn="1"/>
        </p:nvSpPr>
        <p:spPr>
          <a:xfrm flipV="1">
            <a:off x="7002958" y="3077434"/>
            <a:ext cx="1801877" cy="1801874"/>
          </a:xfrm>
          <a:prstGeom prst="arc">
            <a:avLst>
              <a:gd name="adj1" fmla="val 77042"/>
              <a:gd name="adj2" fmla="val 10761043"/>
            </a:avLst>
          </a:prstGeom>
          <a:solidFill>
            <a:schemeClr val="bg1"/>
          </a:solidFill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62" name="Arc 61">
            <a:extLst>
              <a:ext uri="{FF2B5EF4-FFF2-40B4-BE49-F238E27FC236}">
                <a16:creationId xmlns:a16="http://schemas.microsoft.com/office/drawing/2014/main" id="{FBD3F685-4D9A-4ADC-93FA-B0C8431611FB}"/>
              </a:ext>
            </a:extLst>
          </p:cNvPr>
          <p:cNvSpPr/>
          <p:nvPr userDrawn="1"/>
        </p:nvSpPr>
        <p:spPr>
          <a:xfrm>
            <a:off x="8810852" y="3077434"/>
            <a:ext cx="1801877" cy="1801874"/>
          </a:xfrm>
          <a:prstGeom prst="arc">
            <a:avLst>
              <a:gd name="adj1" fmla="val 77042"/>
              <a:gd name="adj2" fmla="val 10761043"/>
            </a:avLst>
          </a:prstGeom>
          <a:solidFill>
            <a:schemeClr val="bg1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77222F01-D57A-410D-8D17-C6ABBE58C5C0}"/>
              </a:ext>
            </a:extLst>
          </p:cNvPr>
          <p:cNvSpPr/>
          <p:nvPr userDrawn="1"/>
        </p:nvSpPr>
        <p:spPr>
          <a:xfrm>
            <a:off x="1701118" y="3199283"/>
            <a:ext cx="1558183" cy="1558179"/>
          </a:xfrm>
          <a:prstGeom prst="ellipse">
            <a:avLst/>
          </a:prstGeom>
          <a:solidFill>
            <a:schemeClr val="bg1">
              <a:alpha val="95000"/>
            </a:schemeClr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50800" dist="25400" dir="2700000" algn="tl" rotWithShape="0">
              <a:prstClr val="black">
                <a:alpha val="1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D49DD41C-0C1B-42A1-9A0C-5010051904DC}"/>
              </a:ext>
            </a:extLst>
          </p:cNvPr>
          <p:cNvSpPr/>
          <p:nvPr userDrawn="1"/>
        </p:nvSpPr>
        <p:spPr>
          <a:xfrm>
            <a:off x="3509014" y="3199283"/>
            <a:ext cx="1558183" cy="1558179"/>
          </a:xfrm>
          <a:prstGeom prst="ellipse">
            <a:avLst/>
          </a:prstGeom>
          <a:solidFill>
            <a:schemeClr val="bg1">
              <a:alpha val="95000"/>
            </a:schemeClr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50800" dist="25400" dir="2700000" algn="tl" rotWithShape="0">
              <a:prstClr val="black">
                <a:alpha val="1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94C84715-72F1-46B4-8A6E-40127632D47C}"/>
              </a:ext>
            </a:extLst>
          </p:cNvPr>
          <p:cNvSpPr/>
          <p:nvPr userDrawn="1"/>
        </p:nvSpPr>
        <p:spPr>
          <a:xfrm>
            <a:off x="5316910" y="3199283"/>
            <a:ext cx="1558183" cy="1558179"/>
          </a:xfrm>
          <a:prstGeom prst="ellipse">
            <a:avLst/>
          </a:prstGeom>
          <a:solidFill>
            <a:schemeClr val="bg1">
              <a:alpha val="95000"/>
            </a:schemeClr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50800" dist="25400" dir="2700000" algn="tl" rotWithShape="0">
              <a:prstClr val="black">
                <a:alpha val="1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45186D40-9868-43B7-A02A-AF5D2D0F2390}"/>
              </a:ext>
            </a:extLst>
          </p:cNvPr>
          <p:cNvSpPr/>
          <p:nvPr userDrawn="1"/>
        </p:nvSpPr>
        <p:spPr>
          <a:xfrm>
            <a:off x="7124805" y="3199283"/>
            <a:ext cx="1558183" cy="1558179"/>
          </a:xfrm>
          <a:prstGeom prst="ellipse">
            <a:avLst/>
          </a:prstGeom>
          <a:solidFill>
            <a:schemeClr val="bg1">
              <a:alpha val="95000"/>
            </a:schemeClr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50800" dist="25400" dir="2700000" algn="tl" rotWithShape="0">
              <a:prstClr val="black">
                <a:alpha val="1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4E3545CB-968F-42BD-900B-10240AB8369C}"/>
              </a:ext>
            </a:extLst>
          </p:cNvPr>
          <p:cNvSpPr/>
          <p:nvPr userDrawn="1"/>
        </p:nvSpPr>
        <p:spPr>
          <a:xfrm>
            <a:off x="8932701" y="3199283"/>
            <a:ext cx="1558183" cy="1558179"/>
          </a:xfrm>
          <a:prstGeom prst="ellipse">
            <a:avLst/>
          </a:prstGeom>
          <a:solidFill>
            <a:schemeClr val="bg1">
              <a:alpha val="95000"/>
            </a:schemeClr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50800" dist="25400" dir="2700000" algn="tl" rotWithShape="0">
              <a:prstClr val="black">
                <a:alpha val="1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D8521E28-F042-4670-96FA-B4CB2359DDEF}"/>
              </a:ext>
            </a:extLst>
          </p:cNvPr>
          <p:cNvSpPr/>
          <p:nvPr userDrawn="1"/>
        </p:nvSpPr>
        <p:spPr>
          <a:xfrm>
            <a:off x="3333150" y="3954509"/>
            <a:ext cx="95999" cy="95999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EEB685E2-A7F3-4BC8-ACBB-55769CA08AFB}"/>
              </a:ext>
            </a:extLst>
          </p:cNvPr>
          <p:cNvSpPr/>
          <p:nvPr userDrawn="1"/>
        </p:nvSpPr>
        <p:spPr>
          <a:xfrm>
            <a:off x="5147063" y="3954509"/>
            <a:ext cx="95999" cy="95999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87784411-1CF0-4C82-8443-E9703D7E33ED}"/>
              </a:ext>
            </a:extLst>
          </p:cNvPr>
          <p:cNvSpPr/>
          <p:nvPr userDrawn="1"/>
        </p:nvSpPr>
        <p:spPr>
          <a:xfrm>
            <a:off x="6954958" y="3954509"/>
            <a:ext cx="95999" cy="95999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4BCFF118-BF74-4555-9CB6-95CDBE90F6DC}"/>
              </a:ext>
            </a:extLst>
          </p:cNvPr>
          <p:cNvSpPr/>
          <p:nvPr userDrawn="1"/>
        </p:nvSpPr>
        <p:spPr>
          <a:xfrm>
            <a:off x="8756835" y="3954509"/>
            <a:ext cx="95999" cy="95999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N" sz="1400" b="1" dirty="0">
              <a:solidFill>
                <a:schemeClr val="bg1"/>
              </a:solidFill>
            </a:endParaRP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7F9DA0B8-593B-4B0C-96C0-B48B07816981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3998212"/>
            <a:ext cx="1579331" cy="0"/>
          </a:xfrm>
          <a:prstGeom prst="line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C8A7C0C5-A076-4AEF-8089-AC035255A887}"/>
              </a:ext>
            </a:extLst>
          </p:cNvPr>
          <p:cNvCxnSpPr>
            <a:cxnSpLocks/>
          </p:cNvCxnSpPr>
          <p:nvPr userDrawn="1"/>
        </p:nvCxnSpPr>
        <p:spPr>
          <a:xfrm flipH="1">
            <a:off x="10612504" y="3998212"/>
            <a:ext cx="1579496" cy="0"/>
          </a:xfrm>
          <a:prstGeom prst="line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79" name="Rectangle 78">
            <a:extLst>
              <a:ext uri="{FF2B5EF4-FFF2-40B4-BE49-F238E27FC236}">
                <a16:creationId xmlns:a16="http://schemas.microsoft.com/office/drawing/2014/main" id="{19767C8F-A3BC-404E-B12E-A21EEEBFB8C3}"/>
              </a:ext>
            </a:extLst>
          </p:cNvPr>
          <p:cNvSpPr/>
          <p:nvPr userDrawn="1"/>
        </p:nvSpPr>
        <p:spPr>
          <a:xfrm>
            <a:off x="2367199" y="3240126"/>
            <a:ext cx="226023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1B3E6F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1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A1726A77-29A1-46BE-A4CD-F2AEC1659FF0}"/>
              </a:ext>
            </a:extLst>
          </p:cNvPr>
          <p:cNvSpPr/>
          <p:nvPr userDrawn="1"/>
        </p:nvSpPr>
        <p:spPr>
          <a:xfrm>
            <a:off x="4143836" y="3240126"/>
            <a:ext cx="288541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2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DE77B44C-5385-4B71-B25C-AC92FBAED5D9}"/>
              </a:ext>
            </a:extLst>
          </p:cNvPr>
          <p:cNvSpPr/>
          <p:nvPr userDrawn="1"/>
        </p:nvSpPr>
        <p:spPr>
          <a:xfrm>
            <a:off x="5951731" y="3240126"/>
            <a:ext cx="288541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3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6EB8DB64-B740-454D-BB3C-1F4DF94F35E9}"/>
              </a:ext>
            </a:extLst>
          </p:cNvPr>
          <p:cNvSpPr/>
          <p:nvPr userDrawn="1"/>
        </p:nvSpPr>
        <p:spPr>
          <a:xfrm>
            <a:off x="7754013" y="3240126"/>
            <a:ext cx="299763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4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C5EFD0D9-F14A-4157-AF37-ADDEA767021B}"/>
              </a:ext>
            </a:extLst>
          </p:cNvPr>
          <p:cNvSpPr/>
          <p:nvPr userDrawn="1"/>
        </p:nvSpPr>
        <p:spPr>
          <a:xfrm>
            <a:off x="9573134" y="3240126"/>
            <a:ext cx="277319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2D72379-AE8D-4A73-97BE-5324D39C207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50900" y="5207771"/>
            <a:ext cx="3251200" cy="405631"/>
          </a:xfrm>
        </p:spPr>
        <p:txBody>
          <a:bodyPr>
            <a:normAutofit/>
          </a:bodyPr>
          <a:lstStyle>
            <a:lvl1pPr marL="0" indent="0" algn="ctr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Title</a:t>
            </a:r>
            <a:endParaRPr lang="en-IN" dirty="0"/>
          </a:p>
        </p:txBody>
      </p:sp>
      <p:sp>
        <p:nvSpPr>
          <p:cNvPr id="96" name="Text Placeholder 6">
            <a:extLst>
              <a:ext uri="{FF2B5EF4-FFF2-40B4-BE49-F238E27FC236}">
                <a16:creationId xmlns:a16="http://schemas.microsoft.com/office/drawing/2014/main" id="{6F25BAC0-8DB4-4CE5-8B80-5072EAC46A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57700" y="5207771"/>
            <a:ext cx="3251200" cy="405631"/>
          </a:xfrm>
        </p:spPr>
        <p:txBody>
          <a:bodyPr>
            <a:normAutofit/>
          </a:bodyPr>
          <a:lstStyle>
            <a:lvl1pPr marL="0" indent="0" algn="ctr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Title</a:t>
            </a:r>
            <a:endParaRPr lang="en-IN" dirty="0"/>
          </a:p>
        </p:txBody>
      </p:sp>
      <p:sp>
        <p:nvSpPr>
          <p:cNvPr id="97" name="Text Placeholder 6">
            <a:extLst>
              <a:ext uri="{FF2B5EF4-FFF2-40B4-BE49-F238E27FC236}">
                <a16:creationId xmlns:a16="http://schemas.microsoft.com/office/drawing/2014/main" id="{F1119F1A-C62C-4FD7-A010-3EEB0B4BBF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89900" y="5207771"/>
            <a:ext cx="3251200" cy="405631"/>
          </a:xfrm>
        </p:spPr>
        <p:txBody>
          <a:bodyPr>
            <a:normAutofit/>
          </a:bodyPr>
          <a:lstStyle>
            <a:lvl1pPr marL="0" indent="0" algn="ctr">
              <a:buNone/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Title</a:t>
            </a:r>
            <a:endParaRPr lang="en-IN" dirty="0"/>
          </a:p>
        </p:txBody>
      </p:sp>
      <p:sp>
        <p:nvSpPr>
          <p:cNvPr id="98" name="Text Placeholder 6">
            <a:extLst>
              <a:ext uri="{FF2B5EF4-FFF2-40B4-BE49-F238E27FC236}">
                <a16:creationId xmlns:a16="http://schemas.microsoft.com/office/drawing/2014/main" id="{D5EEE769-2DD3-48AE-9784-C716827D98C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0900" y="5664970"/>
            <a:ext cx="3251200" cy="515766"/>
          </a:xfrm>
        </p:spPr>
        <p:txBody>
          <a:bodyPr>
            <a:normAutofit/>
          </a:bodyPr>
          <a:lstStyle>
            <a:lvl1pPr marL="0" indent="0" algn="ctr">
              <a:buNone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  <a:endParaRPr lang="en-IN" dirty="0"/>
          </a:p>
        </p:txBody>
      </p:sp>
      <p:sp>
        <p:nvSpPr>
          <p:cNvPr id="99" name="Text Placeholder 6">
            <a:extLst>
              <a:ext uri="{FF2B5EF4-FFF2-40B4-BE49-F238E27FC236}">
                <a16:creationId xmlns:a16="http://schemas.microsoft.com/office/drawing/2014/main" id="{10D665B1-1754-46B6-A3EB-EE2E6503CBC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57700" y="5664970"/>
            <a:ext cx="3251200" cy="515766"/>
          </a:xfrm>
        </p:spPr>
        <p:txBody>
          <a:bodyPr>
            <a:normAutofit/>
          </a:bodyPr>
          <a:lstStyle>
            <a:lvl1pPr marL="0" indent="0" algn="ctr">
              <a:buNone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  <a:endParaRPr lang="en-IN" dirty="0"/>
          </a:p>
        </p:txBody>
      </p:sp>
      <p:sp>
        <p:nvSpPr>
          <p:cNvPr id="100" name="Text Placeholder 6">
            <a:extLst>
              <a:ext uri="{FF2B5EF4-FFF2-40B4-BE49-F238E27FC236}">
                <a16:creationId xmlns:a16="http://schemas.microsoft.com/office/drawing/2014/main" id="{A80AB894-B44F-47E1-9505-A5F14908F39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89900" y="5664970"/>
            <a:ext cx="3251200" cy="515766"/>
          </a:xfrm>
        </p:spPr>
        <p:txBody>
          <a:bodyPr>
            <a:normAutofit/>
          </a:bodyPr>
          <a:lstStyle>
            <a:lvl1pPr marL="0" indent="0" algn="ctr">
              <a:buNone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  <a:endParaRPr lang="en-IN" dirty="0"/>
          </a:p>
        </p:txBody>
      </p:sp>
      <p:sp>
        <p:nvSpPr>
          <p:cNvPr id="101" name="Text Placeholder 6">
            <a:extLst>
              <a:ext uri="{FF2B5EF4-FFF2-40B4-BE49-F238E27FC236}">
                <a16:creationId xmlns:a16="http://schemas.microsoft.com/office/drawing/2014/main" id="{D124C620-3BCE-4C7A-B09B-AAC74618DA0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62505" y="2384949"/>
            <a:ext cx="3251200" cy="405631"/>
          </a:xfrm>
        </p:spPr>
        <p:txBody>
          <a:bodyPr anchor="b">
            <a:normAutofit/>
          </a:bodyPr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  <a:endParaRPr lang="en-IN" dirty="0"/>
          </a:p>
        </p:txBody>
      </p:sp>
      <p:sp>
        <p:nvSpPr>
          <p:cNvPr id="102" name="Text Placeholder 6">
            <a:extLst>
              <a:ext uri="{FF2B5EF4-FFF2-40B4-BE49-F238E27FC236}">
                <a16:creationId xmlns:a16="http://schemas.microsoft.com/office/drawing/2014/main" id="{BBE9F374-4166-4C44-9A3E-3A66E4DEC4B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62505" y="1800748"/>
            <a:ext cx="3251200" cy="515766"/>
          </a:xfrm>
        </p:spPr>
        <p:txBody>
          <a:bodyPr anchor="b">
            <a:normAutofit/>
          </a:bodyPr>
          <a:lstStyle>
            <a:lvl1pPr marL="0" indent="0" algn="ctr">
              <a:buNone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  <a:endParaRPr lang="en-IN" dirty="0"/>
          </a:p>
        </p:txBody>
      </p:sp>
      <p:sp>
        <p:nvSpPr>
          <p:cNvPr id="103" name="Text Placeholder 6">
            <a:extLst>
              <a:ext uri="{FF2B5EF4-FFF2-40B4-BE49-F238E27FC236}">
                <a16:creationId xmlns:a16="http://schemas.microsoft.com/office/drawing/2014/main" id="{FB225CAC-3AEC-4A0E-97BB-EB787B419ED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69305" y="2384949"/>
            <a:ext cx="3251200" cy="405631"/>
          </a:xfrm>
        </p:spPr>
        <p:txBody>
          <a:bodyPr anchor="b">
            <a:normAutofit/>
          </a:bodyPr>
          <a:lstStyle>
            <a:lvl1pPr marL="0" indent="0" algn="ctr">
              <a:buNone/>
              <a:defRPr sz="2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Title</a:t>
            </a:r>
            <a:endParaRPr lang="en-IN" dirty="0"/>
          </a:p>
        </p:txBody>
      </p:sp>
      <p:sp>
        <p:nvSpPr>
          <p:cNvPr id="104" name="Text Placeholder 6">
            <a:extLst>
              <a:ext uri="{FF2B5EF4-FFF2-40B4-BE49-F238E27FC236}">
                <a16:creationId xmlns:a16="http://schemas.microsoft.com/office/drawing/2014/main" id="{4C2AEF54-AAB5-4955-A099-D755C353BE9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69305" y="1800748"/>
            <a:ext cx="3251200" cy="515766"/>
          </a:xfrm>
        </p:spPr>
        <p:txBody>
          <a:bodyPr anchor="b">
            <a:normAutofit/>
          </a:bodyPr>
          <a:lstStyle>
            <a:lvl1pPr marL="0" indent="0" algn="ctr">
              <a:buNone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  <a:endParaRPr lang="en-IN" dirty="0"/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881848A0-D909-4F7E-9AF5-B7B4ACC1E0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95275" y="3933340"/>
            <a:ext cx="643115" cy="643115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4AC8D7D2-502A-4E5E-9C11-EA9CA5504FC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7003" y="3914694"/>
            <a:ext cx="615260" cy="615260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A8454979-3994-496B-8DE1-9ADF25B2A65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99322" y="3898901"/>
            <a:ext cx="614623" cy="614623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91F2D898-0A3B-43B0-9A60-40E3270B8AF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0703" y="3935543"/>
            <a:ext cx="615260" cy="615260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857579CB-AD53-4F99-A8D4-E964C671398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3103" y="3948831"/>
            <a:ext cx="615260" cy="615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154972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E02CA5-6A57-4C27-B743-7967296414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2D72379-AE8D-4A73-97BE-5324D39C207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50902" y="3741828"/>
            <a:ext cx="1935844" cy="405631"/>
          </a:xfrm>
        </p:spPr>
        <p:txBody>
          <a:bodyPr>
            <a:normAutofit/>
          </a:bodyPr>
          <a:lstStyle>
            <a:lvl1pPr marL="0" indent="0" algn="ctr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Title</a:t>
            </a:r>
            <a:endParaRPr lang="en-IN" dirty="0"/>
          </a:p>
        </p:txBody>
      </p:sp>
      <p:sp>
        <p:nvSpPr>
          <p:cNvPr id="98" name="Text Placeholder 6">
            <a:extLst>
              <a:ext uri="{FF2B5EF4-FFF2-40B4-BE49-F238E27FC236}">
                <a16:creationId xmlns:a16="http://schemas.microsoft.com/office/drawing/2014/main" id="{D5EEE769-2DD3-48AE-9784-C716827D98C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0902" y="4199028"/>
            <a:ext cx="1935844" cy="2003337"/>
          </a:xfrm>
        </p:spPr>
        <p:txBody>
          <a:bodyPr>
            <a:normAutofit/>
          </a:bodyPr>
          <a:lstStyle>
            <a:lvl1pPr marL="0" indent="0" algn="ctr">
              <a:buNone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  <a:endParaRPr lang="en-IN" dirty="0"/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4C23328C-D822-486B-A3A3-9E92B5AA7973}"/>
              </a:ext>
            </a:extLst>
          </p:cNvPr>
          <p:cNvCxnSpPr>
            <a:cxnSpLocks/>
          </p:cNvCxnSpPr>
          <p:nvPr/>
        </p:nvCxnSpPr>
        <p:spPr>
          <a:xfrm>
            <a:off x="2885623" y="2815772"/>
            <a:ext cx="0" cy="3386592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D14F2DDC-06EC-4C9A-9165-6C9327BC8064}"/>
              </a:ext>
            </a:extLst>
          </p:cNvPr>
          <p:cNvCxnSpPr>
            <a:cxnSpLocks/>
          </p:cNvCxnSpPr>
          <p:nvPr/>
        </p:nvCxnSpPr>
        <p:spPr>
          <a:xfrm>
            <a:off x="5019223" y="2815772"/>
            <a:ext cx="0" cy="3386592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88A797D0-8530-4ED2-BEB5-B7D97B481681}"/>
              </a:ext>
            </a:extLst>
          </p:cNvPr>
          <p:cNvCxnSpPr>
            <a:cxnSpLocks/>
          </p:cNvCxnSpPr>
          <p:nvPr/>
        </p:nvCxnSpPr>
        <p:spPr>
          <a:xfrm>
            <a:off x="7152823" y="2815772"/>
            <a:ext cx="0" cy="3386592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66779419-883C-4382-AE85-D40C71625608}"/>
              </a:ext>
            </a:extLst>
          </p:cNvPr>
          <p:cNvCxnSpPr>
            <a:cxnSpLocks/>
          </p:cNvCxnSpPr>
          <p:nvPr/>
        </p:nvCxnSpPr>
        <p:spPr>
          <a:xfrm>
            <a:off x="9286423" y="2815772"/>
            <a:ext cx="0" cy="3386592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Oval 48">
            <a:extLst>
              <a:ext uri="{FF2B5EF4-FFF2-40B4-BE49-F238E27FC236}">
                <a16:creationId xmlns:a16="http://schemas.microsoft.com/office/drawing/2014/main" id="{F0483C4B-D93F-4317-A117-EB0FB168E74B}"/>
              </a:ext>
            </a:extLst>
          </p:cNvPr>
          <p:cNvSpPr/>
          <p:nvPr userDrawn="1"/>
        </p:nvSpPr>
        <p:spPr>
          <a:xfrm>
            <a:off x="1025074" y="1979386"/>
            <a:ext cx="1587500" cy="15875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48FB8A63-5414-4230-9FF0-E525A5C2B452}"/>
              </a:ext>
            </a:extLst>
          </p:cNvPr>
          <p:cNvSpPr/>
          <p:nvPr userDrawn="1"/>
        </p:nvSpPr>
        <p:spPr>
          <a:xfrm>
            <a:off x="3158674" y="1979386"/>
            <a:ext cx="1587500" cy="15875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1123E35A-B6E4-4189-A893-DE28E28F36F9}"/>
              </a:ext>
            </a:extLst>
          </p:cNvPr>
          <p:cNvSpPr/>
          <p:nvPr userDrawn="1"/>
        </p:nvSpPr>
        <p:spPr>
          <a:xfrm>
            <a:off x="5292274" y="1979386"/>
            <a:ext cx="1587500" cy="15875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0867A50A-4504-4134-B231-984B4AEAD4C9}"/>
              </a:ext>
            </a:extLst>
          </p:cNvPr>
          <p:cNvSpPr/>
          <p:nvPr userDrawn="1"/>
        </p:nvSpPr>
        <p:spPr>
          <a:xfrm>
            <a:off x="7425874" y="1979386"/>
            <a:ext cx="1587500" cy="15875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FE3B15E1-1DE2-4B43-ADCA-95644A43C562}"/>
              </a:ext>
            </a:extLst>
          </p:cNvPr>
          <p:cNvSpPr/>
          <p:nvPr userDrawn="1"/>
        </p:nvSpPr>
        <p:spPr>
          <a:xfrm>
            <a:off x="9559474" y="1979386"/>
            <a:ext cx="1587500" cy="15875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E047BD2A-E4BC-4467-BD50-F99CE1EBD411}"/>
              </a:ext>
            </a:extLst>
          </p:cNvPr>
          <p:cNvSpPr/>
          <p:nvPr userDrawn="1"/>
        </p:nvSpPr>
        <p:spPr>
          <a:xfrm>
            <a:off x="1" y="2612572"/>
            <a:ext cx="1282700" cy="32112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F7C49512-0C3B-47D6-A952-C9FCC0B5EDB1}"/>
              </a:ext>
            </a:extLst>
          </p:cNvPr>
          <p:cNvSpPr/>
          <p:nvPr userDrawn="1"/>
        </p:nvSpPr>
        <p:spPr>
          <a:xfrm>
            <a:off x="10909301" y="2612572"/>
            <a:ext cx="1282700" cy="32112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3508120A-79A9-4EF6-81ED-05AB28565BB4}"/>
              </a:ext>
            </a:extLst>
          </p:cNvPr>
          <p:cNvSpPr/>
          <p:nvPr userDrawn="1"/>
        </p:nvSpPr>
        <p:spPr>
          <a:xfrm>
            <a:off x="2499785" y="2612572"/>
            <a:ext cx="795867" cy="321128"/>
          </a:xfrm>
          <a:prstGeom prst="rect">
            <a:avLst/>
          </a:prstGeom>
          <a:gradFill flip="none" rotWithShape="1">
            <a:gsLst>
              <a:gs pos="10000">
                <a:schemeClr val="tx2"/>
              </a:gs>
              <a:gs pos="90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8D796205-71F7-4978-948F-EFE07CB7E9CC}"/>
              </a:ext>
            </a:extLst>
          </p:cNvPr>
          <p:cNvSpPr/>
          <p:nvPr userDrawn="1"/>
        </p:nvSpPr>
        <p:spPr>
          <a:xfrm flipH="1">
            <a:off x="4633385" y="2612572"/>
            <a:ext cx="741891" cy="321128"/>
          </a:xfrm>
          <a:prstGeom prst="rect">
            <a:avLst/>
          </a:prstGeom>
          <a:gradFill flip="none" rotWithShape="1">
            <a:gsLst>
              <a:gs pos="10000">
                <a:schemeClr val="accent2"/>
              </a:gs>
              <a:gs pos="90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36808F29-0004-4D82-A318-760957A77B33}"/>
              </a:ext>
            </a:extLst>
          </p:cNvPr>
          <p:cNvSpPr/>
          <p:nvPr userDrawn="1"/>
        </p:nvSpPr>
        <p:spPr>
          <a:xfrm>
            <a:off x="6810375" y="2612572"/>
            <a:ext cx="628651" cy="321128"/>
          </a:xfrm>
          <a:prstGeom prst="rect">
            <a:avLst/>
          </a:prstGeom>
          <a:gradFill flip="none" rotWithShape="1">
            <a:gsLst>
              <a:gs pos="10000">
                <a:schemeClr val="accent2"/>
              </a:gs>
              <a:gs pos="90000">
                <a:schemeClr val="accent4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8B35B246-A692-4A88-8107-ADB6D8C905DD}"/>
              </a:ext>
            </a:extLst>
          </p:cNvPr>
          <p:cNvSpPr/>
          <p:nvPr userDrawn="1"/>
        </p:nvSpPr>
        <p:spPr>
          <a:xfrm flipH="1">
            <a:off x="8880475" y="2612572"/>
            <a:ext cx="811736" cy="321128"/>
          </a:xfrm>
          <a:prstGeom prst="rect">
            <a:avLst/>
          </a:prstGeom>
          <a:gradFill flip="none" rotWithShape="1">
            <a:gsLst>
              <a:gs pos="10000">
                <a:schemeClr val="accent3"/>
              </a:gs>
              <a:gs pos="90000">
                <a:schemeClr val="accent4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84" name="Text Placeholder 6">
            <a:extLst>
              <a:ext uri="{FF2B5EF4-FFF2-40B4-BE49-F238E27FC236}">
                <a16:creationId xmlns:a16="http://schemas.microsoft.com/office/drawing/2014/main" id="{4413CB78-8B13-41C1-BFCB-BBCFEC97ACAC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2984502" y="3741828"/>
            <a:ext cx="1935844" cy="405631"/>
          </a:xfrm>
        </p:spPr>
        <p:txBody>
          <a:bodyPr>
            <a:normAutofit/>
          </a:bodyPr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  <a:endParaRPr lang="en-IN" dirty="0"/>
          </a:p>
        </p:txBody>
      </p:sp>
      <p:sp>
        <p:nvSpPr>
          <p:cNvPr id="85" name="Text Placeholder 6">
            <a:extLst>
              <a:ext uri="{FF2B5EF4-FFF2-40B4-BE49-F238E27FC236}">
                <a16:creationId xmlns:a16="http://schemas.microsoft.com/office/drawing/2014/main" id="{29768A58-3649-4E2F-8916-40E1FFE4DC46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2984502" y="4199028"/>
            <a:ext cx="1935844" cy="2003337"/>
          </a:xfrm>
        </p:spPr>
        <p:txBody>
          <a:bodyPr>
            <a:normAutofit/>
          </a:bodyPr>
          <a:lstStyle>
            <a:lvl1pPr marL="0" indent="0" algn="ctr">
              <a:buNone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  <a:endParaRPr lang="en-IN" dirty="0"/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03B1CA4B-FFF4-4B13-B203-8DC4DBF200C0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5118102" y="3741828"/>
            <a:ext cx="1935844" cy="405631"/>
          </a:xfrm>
        </p:spPr>
        <p:txBody>
          <a:bodyPr>
            <a:normAutofit/>
          </a:bodyPr>
          <a:lstStyle>
            <a:lvl1pPr marL="0" indent="0" algn="ctr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Title</a:t>
            </a:r>
            <a:endParaRPr lang="en-IN" dirty="0"/>
          </a:p>
        </p:txBody>
      </p:sp>
      <p:sp>
        <p:nvSpPr>
          <p:cNvPr id="87" name="Text Placeholder 6">
            <a:extLst>
              <a:ext uri="{FF2B5EF4-FFF2-40B4-BE49-F238E27FC236}">
                <a16:creationId xmlns:a16="http://schemas.microsoft.com/office/drawing/2014/main" id="{916E7A50-C97D-4951-9FDF-162FD3C264AE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5118102" y="4199028"/>
            <a:ext cx="1935844" cy="2003337"/>
          </a:xfrm>
        </p:spPr>
        <p:txBody>
          <a:bodyPr>
            <a:normAutofit/>
          </a:bodyPr>
          <a:lstStyle>
            <a:lvl1pPr marL="0" indent="0" algn="ctr">
              <a:buNone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  <a:endParaRPr lang="en-IN" dirty="0"/>
          </a:p>
        </p:txBody>
      </p:sp>
      <p:sp>
        <p:nvSpPr>
          <p:cNvPr id="88" name="Text Placeholder 6">
            <a:extLst>
              <a:ext uri="{FF2B5EF4-FFF2-40B4-BE49-F238E27FC236}">
                <a16:creationId xmlns:a16="http://schemas.microsoft.com/office/drawing/2014/main" id="{24A3C7DD-9310-4E96-BFD5-14EDABAA6B2C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7251702" y="3741828"/>
            <a:ext cx="1935844" cy="405631"/>
          </a:xfrm>
        </p:spPr>
        <p:txBody>
          <a:bodyPr>
            <a:normAutofit/>
          </a:bodyPr>
          <a:lstStyle>
            <a:lvl1pPr marL="0" indent="0" algn="ctr">
              <a:buNone/>
              <a:defRPr sz="2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Title</a:t>
            </a:r>
            <a:endParaRPr lang="en-IN" dirty="0"/>
          </a:p>
        </p:txBody>
      </p:sp>
      <p:sp>
        <p:nvSpPr>
          <p:cNvPr id="89" name="Text Placeholder 6">
            <a:extLst>
              <a:ext uri="{FF2B5EF4-FFF2-40B4-BE49-F238E27FC236}">
                <a16:creationId xmlns:a16="http://schemas.microsoft.com/office/drawing/2014/main" id="{E9049C43-A228-488E-9160-90EABF6D921F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7251702" y="4199028"/>
            <a:ext cx="1935844" cy="2003337"/>
          </a:xfrm>
        </p:spPr>
        <p:txBody>
          <a:bodyPr>
            <a:normAutofit/>
          </a:bodyPr>
          <a:lstStyle>
            <a:lvl1pPr marL="0" indent="0" algn="ctr">
              <a:buNone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  <a:endParaRPr lang="en-IN" dirty="0"/>
          </a:p>
        </p:txBody>
      </p:sp>
      <p:sp>
        <p:nvSpPr>
          <p:cNvPr id="90" name="Text Placeholder 6">
            <a:extLst>
              <a:ext uri="{FF2B5EF4-FFF2-40B4-BE49-F238E27FC236}">
                <a16:creationId xmlns:a16="http://schemas.microsoft.com/office/drawing/2014/main" id="{E7FC8A58-3C17-40EF-82CF-6CBEBE780B3A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9385302" y="3741828"/>
            <a:ext cx="1935844" cy="405631"/>
          </a:xfrm>
        </p:spPr>
        <p:txBody>
          <a:bodyPr>
            <a:normAutofit/>
          </a:bodyPr>
          <a:lstStyle>
            <a:lvl1pPr marL="0" indent="0" algn="ctr">
              <a:buNone/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Title</a:t>
            </a:r>
            <a:endParaRPr lang="en-IN" dirty="0"/>
          </a:p>
        </p:txBody>
      </p:sp>
      <p:sp>
        <p:nvSpPr>
          <p:cNvPr id="91" name="Text Placeholder 6">
            <a:extLst>
              <a:ext uri="{FF2B5EF4-FFF2-40B4-BE49-F238E27FC236}">
                <a16:creationId xmlns:a16="http://schemas.microsoft.com/office/drawing/2014/main" id="{32EB326C-B038-4F88-9112-F1D7CD5C0772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9385302" y="4199028"/>
            <a:ext cx="1935844" cy="2003337"/>
          </a:xfrm>
        </p:spPr>
        <p:txBody>
          <a:bodyPr>
            <a:normAutofit/>
          </a:bodyPr>
          <a:lstStyle>
            <a:lvl1pPr marL="0" indent="0" algn="ctr">
              <a:buNone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  <a:endParaRPr lang="en-IN" dirty="0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2839EC58-35FD-4744-97E7-8372941F1957}"/>
              </a:ext>
            </a:extLst>
          </p:cNvPr>
          <p:cNvSpPr/>
          <p:nvPr userDrawn="1"/>
        </p:nvSpPr>
        <p:spPr>
          <a:xfrm>
            <a:off x="1236741" y="2191053"/>
            <a:ext cx="1164167" cy="116416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DF717C92-3512-4155-9A49-F854C84E4E23}"/>
              </a:ext>
            </a:extLst>
          </p:cNvPr>
          <p:cNvSpPr/>
          <p:nvPr userDrawn="1"/>
        </p:nvSpPr>
        <p:spPr>
          <a:xfrm>
            <a:off x="3370341" y="2191053"/>
            <a:ext cx="1164167" cy="116416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04E5ADD0-57FB-481C-9F63-9750C756C2A7}"/>
              </a:ext>
            </a:extLst>
          </p:cNvPr>
          <p:cNvSpPr/>
          <p:nvPr userDrawn="1"/>
        </p:nvSpPr>
        <p:spPr>
          <a:xfrm>
            <a:off x="5503941" y="2191053"/>
            <a:ext cx="1164167" cy="116416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37E93FC4-D0BF-45A3-8C02-7062FE631FE8}"/>
              </a:ext>
            </a:extLst>
          </p:cNvPr>
          <p:cNvSpPr/>
          <p:nvPr userDrawn="1"/>
        </p:nvSpPr>
        <p:spPr>
          <a:xfrm>
            <a:off x="7637541" y="2191053"/>
            <a:ext cx="1164167" cy="116416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4515D1B9-FEAA-4FC1-8CAA-B48F78585DDE}"/>
              </a:ext>
            </a:extLst>
          </p:cNvPr>
          <p:cNvSpPr/>
          <p:nvPr userDrawn="1"/>
        </p:nvSpPr>
        <p:spPr>
          <a:xfrm>
            <a:off x="9771141" y="2191053"/>
            <a:ext cx="1164167" cy="116416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EF7CEB74-0724-45EA-97D1-CD3A2D9870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7913" y="2473060"/>
            <a:ext cx="643115" cy="643115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BD87AB23-0788-47AF-9D82-CC7E552591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9242" y="2454414"/>
            <a:ext cx="615260" cy="615260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68941C96-5398-4688-A04C-96502142B4F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18661" y="2438621"/>
            <a:ext cx="614623" cy="614623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F8E18C71-5516-49DA-90F2-B790C43C0B0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5594" y="2475263"/>
            <a:ext cx="615260" cy="615260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0EAE688B-58AE-4E7C-8B65-7279B17DCC9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0142" y="2488551"/>
            <a:ext cx="615260" cy="615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45877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yramid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Freeform: Shape 164">
            <a:extLst>
              <a:ext uri="{FF2B5EF4-FFF2-40B4-BE49-F238E27FC236}">
                <a16:creationId xmlns:a16="http://schemas.microsoft.com/office/drawing/2014/main" id="{00824AD3-B600-42BE-99AD-25A6B7AA1F28}"/>
              </a:ext>
            </a:extLst>
          </p:cNvPr>
          <p:cNvSpPr/>
          <p:nvPr userDrawn="1"/>
        </p:nvSpPr>
        <p:spPr>
          <a:xfrm>
            <a:off x="2706593" y="1798636"/>
            <a:ext cx="856339" cy="862390"/>
          </a:xfrm>
          <a:custGeom>
            <a:avLst/>
            <a:gdLst>
              <a:gd name="connsiteX0" fmla="*/ 428169 w 856338"/>
              <a:gd name="connsiteY0" fmla="*/ 0 h 862390"/>
              <a:gd name="connsiteX1" fmla="*/ 856338 w 856338"/>
              <a:gd name="connsiteY1" fmla="*/ 862390 h 862390"/>
              <a:gd name="connsiteX2" fmla="*/ 0 w 856338"/>
              <a:gd name="connsiteY2" fmla="*/ 862390 h 862390"/>
              <a:gd name="connsiteX3" fmla="*/ 428169 w 856338"/>
              <a:gd name="connsiteY3" fmla="*/ 0 h 8623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56338" h="862390">
                <a:moveTo>
                  <a:pt x="428169" y="0"/>
                </a:moveTo>
                <a:lnTo>
                  <a:pt x="856338" y="862390"/>
                </a:lnTo>
                <a:lnTo>
                  <a:pt x="0" y="862390"/>
                </a:lnTo>
                <a:lnTo>
                  <a:pt x="428169" y="0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162" name="Freeform: Shape 161">
            <a:extLst>
              <a:ext uri="{FF2B5EF4-FFF2-40B4-BE49-F238E27FC236}">
                <a16:creationId xmlns:a16="http://schemas.microsoft.com/office/drawing/2014/main" id="{4B435937-CBA7-460A-BC5E-67EB8F577F07}"/>
              </a:ext>
            </a:extLst>
          </p:cNvPr>
          <p:cNvSpPr/>
          <p:nvPr userDrawn="1"/>
        </p:nvSpPr>
        <p:spPr>
          <a:xfrm>
            <a:off x="2266429" y="2706748"/>
            <a:ext cx="1736667" cy="840829"/>
          </a:xfrm>
          <a:custGeom>
            <a:avLst/>
            <a:gdLst>
              <a:gd name="connsiteX0" fmla="*/ 417465 w 1736666"/>
              <a:gd name="connsiteY0" fmla="*/ 0 h 840829"/>
              <a:gd name="connsiteX1" fmla="*/ 1319202 w 1736666"/>
              <a:gd name="connsiteY1" fmla="*/ 0 h 840829"/>
              <a:gd name="connsiteX2" fmla="*/ 1736666 w 1736666"/>
              <a:gd name="connsiteY2" fmla="*/ 840829 h 840829"/>
              <a:gd name="connsiteX3" fmla="*/ 0 w 1736666"/>
              <a:gd name="connsiteY3" fmla="*/ 840829 h 840829"/>
              <a:gd name="connsiteX4" fmla="*/ 417465 w 1736666"/>
              <a:gd name="connsiteY4" fmla="*/ 0 h 840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36666" h="840829">
                <a:moveTo>
                  <a:pt x="417465" y="0"/>
                </a:moveTo>
                <a:lnTo>
                  <a:pt x="1319202" y="0"/>
                </a:lnTo>
                <a:lnTo>
                  <a:pt x="1736666" y="840829"/>
                </a:lnTo>
                <a:lnTo>
                  <a:pt x="0" y="840829"/>
                </a:lnTo>
                <a:lnTo>
                  <a:pt x="417465" y="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159" name="Freeform: Shape 158">
            <a:extLst>
              <a:ext uri="{FF2B5EF4-FFF2-40B4-BE49-F238E27FC236}">
                <a16:creationId xmlns:a16="http://schemas.microsoft.com/office/drawing/2014/main" id="{5B1F5918-98D8-4B31-9A6D-4A5612E97D5E}"/>
              </a:ext>
            </a:extLst>
          </p:cNvPr>
          <p:cNvSpPr/>
          <p:nvPr userDrawn="1"/>
        </p:nvSpPr>
        <p:spPr>
          <a:xfrm>
            <a:off x="1826269" y="3593296"/>
            <a:ext cx="2616993" cy="840829"/>
          </a:xfrm>
          <a:custGeom>
            <a:avLst/>
            <a:gdLst>
              <a:gd name="connsiteX0" fmla="*/ 417464 w 2616993"/>
              <a:gd name="connsiteY0" fmla="*/ 0 h 840829"/>
              <a:gd name="connsiteX1" fmla="*/ 2199528 w 2616993"/>
              <a:gd name="connsiteY1" fmla="*/ 0 h 840829"/>
              <a:gd name="connsiteX2" fmla="*/ 2616993 w 2616993"/>
              <a:gd name="connsiteY2" fmla="*/ 840829 h 840829"/>
              <a:gd name="connsiteX3" fmla="*/ 0 w 2616993"/>
              <a:gd name="connsiteY3" fmla="*/ 840829 h 840829"/>
              <a:gd name="connsiteX4" fmla="*/ 417464 w 2616993"/>
              <a:gd name="connsiteY4" fmla="*/ 0 h 840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16993" h="840829">
                <a:moveTo>
                  <a:pt x="417464" y="0"/>
                </a:moveTo>
                <a:lnTo>
                  <a:pt x="2199528" y="0"/>
                </a:lnTo>
                <a:lnTo>
                  <a:pt x="2616993" y="840829"/>
                </a:lnTo>
                <a:lnTo>
                  <a:pt x="0" y="840829"/>
                </a:lnTo>
                <a:lnTo>
                  <a:pt x="417464" y="0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156" name="Freeform: Shape 155">
            <a:extLst>
              <a:ext uri="{FF2B5EF4-FFF2-40B4-BE49-F238E27FC236}">
                <a16:creationId xmlns:a16="http://schemas.microsoft.com/office/drawing/2014/main" id="{FD276E90-6A1E-4403-ADF8-40367C8ED519}"/>
              </a:ext>
            </a:extLst>
          </p:cNvPr>
          <p:cNvSpPr/>
          <p:nvPr userDrawn="1"/>
        </p:nvSpPr>
        <p:spPr>
          <a:xfrm>
            <a:off x="1386103" y="4479844"/>
            <a:ext cx="3497320" cy="840829"/>
          </a:xfrm>
          <a:custGeom>
            <a:avLst/>
            <a:gdLst>
              <a:gd name="connsiteX0" fmla="*/ 417465 w 3497320"/>
              <a:gd name="connsiteY0" fmla="*/ 0 h 840829"/>
              <a:gd name="connsiteX1" fmla="*/ 3079856 w 3497320"/>
              <a:gd name="connsiteY1" fmla="*/ 0 h 840829"/>
              <a:gd name="connsiteX2" fmla="*/ 3497320 w 3497320"/>
              <a:gd name="connsiteY2" fmla="*/ 840829 h 840829"/>
              <a:gd name="connsiteX3" fmla="*/ 0 w 3497320"/>
              <a:gd name="connsiteY3" fmla="*/ 840829 h 840829"/>
              <a:gd name="connsiteX4" fmla="*/ 417465 w 3497320"/>
              <a:gd name="connsiteY4" fmla="*/ 0 h 840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7320" h="840829">
                <a:moveTo>
                  <a:pt x="417465" y="0"/>
                </a:moveTo>
                <a:lnTo>
                  <a:pt x="3079856" y="0"/>
                </a:lnTo>
                <a:lnTo>
                  <a:pt x="3497320" y="840829"/>
                </a:lnTo>
                <a:lnTo>
                  <a:pt x="0" y="840829"/>
                </a:lnTo>
                <a:lnTo>
                  <a:pt x="417465" y="0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153" name="Freeform: Shape 152">
            <a:extLst>
              <a:ext uri="{FF2B5EF4-FFF2-40B4-BE49-F238E27FC236}">
                <a16:creationId xmlns:a16="http://schemas.microsoft.com/office/drawing/2014/main" id="{C8AABCCD-8E7B-45E3-B513-D41AA38AE877}"/>
              </a:ext>
            </a:extLst>
          </p:cNvPr>
          <p:cNvSpPr/>
          <p:nvPr userDrawn="1"/>
        </p:nvSpPr>
        <p:spPr>
          <a:xfrm>
            <a:off x="948351" y="5366389"/>
            <a:ext cx="4372824" cy="835972"/>
          </a:xfrm>
          <a:custGeom>
            <a:avLst/>
            <a:gdLst>
              <a:gd name="connsiteX0" fmla="*/ 415053 w 4372824"/>
              <a:gd name="connsiteY0" fmla="*/ 0 h 835972"/>
              <a:gd name="connsiteX1" fmla="*/ 3957771 w 4372824"/>
              <a:gd name="connsiteY1" fmla="*/ 0 h 835972"/>
              <a:gd name="connsiteX2" fmla="*/ 4372824 w 4372824"/>
              <a:gd name="connsiteY2" fmla="*/ 835972 h 835972"/>
              <a:gd name="connsiteX3" fmla="*/ 0 w 4372824"/>
              <a:gd name="connsiteY3" fmla="*/ 835972 h 835972"/>
              <a:gd name="connsiteX4" fmla="*/ 415053 w 4372824"/>
              <a:gd name="connsiteY4" fmla="*/ 0 h 835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72824" h="835972">
                <a:moveTo>
                  <a:pt x="415053" y="0"/>
                </a:moveTo>
                <a:lnTo>
                  <a:pt x="3957771" y="0"/>
                </a:lnTo>
                <a:lnTo>
                  <a:pt x="4372824" y="835972"/>
                </a:lnTo>
                <a:lnTo>
                  <a:pt x="0" y="835972"/>
                </a:lnTo>
                <a:lnTo>
                  <a:pt x="415053" y="0"/>
                </a:lnTo>
                <a:close/>
              </a:path>
            </a:pathLst>
          </a:cu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475560F-34E7-4EE0-9BFC-B8C02902899D}"/>
              </a:ext>
            </a:extLst>
          </p:cNvPr>
          <p:cNvSpPr>
            <a:spLocks noGrp="1"/>
          </p:cNvSpPr>
          <p:nvPr userDrawn="1"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2C271652-0803-421E-A642-9C50116D6458}"/>
              </a:ext>
            </a:extLst>
          </p:cNvPr>
          <p:cNvSpPr/>
          <p:nvPr userDrawn="1"/>
        </p:nvSpPr>
        <p:spPr>
          <a:xfrm>
            <a:off x="665883" y="6215123"/>
            <a:ext cx="4937760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170" name="Freeform: Shape 169">
            <a:extLst>
              <a:ext uri="{FF2B5EF4-FFF2-40B4-BE49-F238E27FC236}">
                <a16:creationId xmlns:a16="http://schemas.microsoft.com/office/drawing/2014/main" id="{FAEB4EF5-F751-482A-A355-5CD90F953FF1}"/>
              </a:ext>
            </a:extLst>
          </p:cNvPr>
          <p:cNvSpPr/>
          <p:nvPr userDrawn="1"/>
        </p:nvSpPr>
        <p:spPr>
          <a:xfrm>
            <a:off x="2896967" y="1798636"/>
            <a:ext cx="475595" cy="862390"/>
          </a:xfrm>
          <a:custGeom>
            <a:avLst/>
            <a:gdLst>
              <a:gd name="connsiteX0" fmla="*/ 428169 w 856338"/>
              <a:gd name="connsiteY0" fmla="*/ 0 h 862390"/>
              <a:gd name="connsiteX1" fmla="*/ 856338 w 856338"/>
              <a:gd name="connsiteY1" fmla="*/ 862390 h 862390"/>
              <a:gd name="connsiteX2" fmla="*/ 0 w 856338"/>
              <a:gd name="connsiteY2" fmla="*/ 862390 h 862390"/>
              <a:gd name="connsiteX3" fmla="*/ 428169 w 856338"/>
              <a:gd name="connsiteY3" fmla="*/ 0 h 8623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56338" h="862390">
                <a:moveTo>
                  <a:pt x="428169" y="0"/>
                </a:moveTo>
                <a:lnTo>
                  <a:pt x="856338" y="862390"/>
                </a:lnTo>
                <a:lnTo>
                  <a:pt x="0" y="862390"/>
                </a:lnTo>
                <a:lnTo>
                  <a:pt x="428169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171" name="Freeform: Shape 170">
            <a:extLst>
              <a:ext uri="{FF2B5EF4-FFF2-40B4-BE49-F238E27FC236}">
                <a16:creationId xmlns:a16="http://schemas.microsoft.com/office/drawing/2014/main" id="{683229A2-8606-4E76-A7F5-655CC106357F}"/>
              </a:ext>
            </a:extLst>
          </p:cNvPr>
          <p:cNvSpPr/>
          <p:nvPr userDrawn="1"/>
        </p:nvSpPr>
        <p:spPr>
          <a:xfrm>
            <a:off x="2652505" y="2706748"/>
            <a:ext cx="964515" cy="840829"/>
          </a:xfrm>
          <a:custGeom>
            <a:avLst/>
            <a:gdLst>
              <a:gd name="connsiteX0" fmla="*/ 417465 w 1736666"/>
              <a:gd name="connsiteY0" fmla="*/ 0 h 840829"/>
              <a:gd name="connsiteX1" fmla="*/ 1319202 w 1736666"/>
              <a:gd name="connsiteY1" fmla="*/ 0 h 840829"/>
              <a:gd name="connsiteX2" fmla="*/ 1736666 w 1736666"/>
              <a:gd name="connsiteY2" fmla="*/ 840829 h 840829"/>
              <a:gd name="connsiteX3" fmla="*/ 0 w 1736666"/>
              <a:gd name="connsiteY3" fmla="*/ 840829 h 840829"/>
              <a:gd name="connsiteX4" fmla="*/ 417465 w 1736666"/>
              <a:gd name="connsiteY4" fmla="*/ 0 h 840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36666" h="840829">
                <a:moveTo>
                  <a:pt x="417465" y="0"/>
                </a:moveTo>
                <a:lnTo>
                  <a:pt x="1319202" y="0"/>
                </a:lnTo>
                <a:lnTo>
                  <a:pt x="1736666" y="840829"/>
                </a:lnTo>
                <a:lnTo>
                  <a:pt x="0" y="840829"/>
                </a:lnTo>
                <a:lnTo>
                  <a:pt x="417465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172" name="Freeform: Shape 171">
            <a:extLst>
              <a:ext uri="{FF2B5EF4-FFF2-40B4-BE49-F238E27FC236}">
                <a16:creationId xmlns:a16="http://schemas.microsoft.com/office/drawing/2014/main" id="{142B3EA2-F085-42F8-9DBD-02E07363EF81}"/>
              </a:ext>
            </a:extLst>
          </p:cNvPr>
          <p:cNvSpPr/>
          <p:nvPr userDrawn="1"/>
        </p:nvSpPr>
        <p:spPr>
          <a:xfrm>
            <a:off x="2408049" y="3593296"/>
            <a:ext cx="1453433" cy="840829"/>
          </a:xfrm>
          <a:custGeom>
            <a:avLst/>
            <a:gdLst>
              <a:gd name="connsiteX0" fmla="*/ 417464 w 2616993"/>
              <a:gd name="connsiteY0" fmla="*/ 0 h 840829"/>
              <a:gd name="connsiteX1" fmla="*/ 2199528 w 2616993"/>
              <a:gd name="connsiteY1" fmla="*/ 0 h 840829"/>
              <a:gd name="connsiteX2" fmla="*/ 2616993 w 2616993"/>
              <a:gd name="connsiteY2" fmla="*/ 840829 h 840829"/>
              <a:gd name="connsiteX3" fmla="*/ 0 w 2616993"/>
              <a:gd name="connsiteY3" fmla="*/ 840829 h 840829"/>
              <a:gd name="connsiteX4" fmla="*/ 417464 w 2616993"/>
              <a:gd name="connsiteY4" fmla="*/ 0 h 840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16993" h="840829">
                <a:moveTo>
                  <a:pt x="417464" y="0"/>
                </a:moveTo>
                <a:lnTo>
                  <a:pt x="2199528" y="0"/>
                </a:lnTo>
                <a:lnTo>
                  <a:pt x="2616993" y="840829"/>
                </a:lnTo>
                <a:lnTo>
                  <a:pt x="0" y="840829"/>
                </a:lnTo>
                <a:lnTo>
                  <a:pt x="417464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173" name="Freeform: Shape 172">
            <a:extLst>
              <a:ext uri="{FF2B5EF4-FFF2-40B4-BE49-F238E27FC236}">
                <a16:creationId xmlns:a16="http://schemas.microsoft.com/office/drawing/2014/main" id="{F40B3416-1DC8-42B2-ACAA-2EBCF7E50FA2}"/>
              </a:ext>
            </a:extLst>
          </p:cNvPr>
          <p:cNvSpPr/>
          <p:nvPr userDrawn="1"/>
        </p:nvSpPr>
        <p:spPr>
          <a:xfrm>
            <a:off x="2163590" y="4479844"/>
            <a:ext cx="1942351" cy="840829"/>
          </a:xfrm>
          <a:custGeom>
            <a:avLst/>
            <a:gdLst>
              <a:gd name="connsiteX0" fmla="*/ 417465 w 3497320"/>
              <a:gd name="connsiteY0" fmla="*/ 0 h 840829"/>
              <a:gd name="connsiteX1" fmla="*/ 3079856 w 3497320"/>
              <a:gd name="connsiteY1" fmla="*/ 0 h 840829"/>
              <a:gd name="connsiteX2" fmla="*/ 3497320 w 3497320"/>
              <a:gd name="connsiteY2" fmla="*/ 840829 h 840829"/>
              <a:gd name="connsiteX3" fmla="*/ 0 w 3497320"/>
              <a:gd name="connsiteY3" fmla="*/ 840829 h 840829"/>
              <a:gd name="connsiteX4" fmla="*/ 417465 w 3497320"/>
              <a:gd name="connsiteY4" fmla="*/ 0 h 840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7320" h="840829">
                <a:moveTo>
                  <a:pt x="417465" y="0"/>
                </a:moveTo>
                <a:lnTo>
                  <a:pt x="3079856" y="0"/>
                </a:lnTo>
                <a:lnTo>
                  <a:pt x="3497320" y="840829"/>
                </a:lnTo>
                <a:lnTo>
                  <a:pt x="0" y="840829"/>
                </a:lnTo>
                <a:lnTo>
                  <a:pt x="417465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174" name="Freeform: Shape 173">
            <a:extLst>
              <a:ext uri="{FF2B5EF4-FFF2-40B4-BE49-F238E27FC236}">
                <a16:creationId xmlns:a16="http://schemas.microsoft.com/office/drawing/2014/main" id="{6A86A5F9-EE2E-44F9-815B-B1FB26E4082A}"/>
              </a:ext>
            </a:extLst>
          </p:cNvPr>
          <p:cNvSpPr/>
          <p:nvPr userDrawn="1"/>
        </p:nvSpPr>
        <p:spPr>
          <a:xfrm>
            <a:off x="1920470" y="5366389"/>
            <a:ext cx="2428591" cy="835972"/>
          </a:xfrm>
          <a:custGeom>
            <a:avLst/>
            <a:gdLst>
              <a:gd name="connsiteX0" fmla="*/ 415053 w 4372824"/>
              <a:gd name="connsiteY0" fmla="*/ 0 h 835972"/>
              <a:gd name="connsiteX1" fmla="*/ 3957771 w 4372824"/>
              <a:gd name="connsiteY1" fmla="*/ 0 h 835972"/>
              <a:gd name="connsiteX2" fmla="*/ 4372824 w 4372824"/>
              <a:gd name="connsiteY2" fmla="*/ 835972 h 835972"/>
              <a:gd name="connsiteX3" fmla="*/ 0 w 4372824"/>
              <a:gd name="connsiteY3" fmla="*/ 835972 h 835972"/>
              <a:gd name="connsiteX4" fmla="*/ 415053 w 4372824"/>
              <a:gd name="connsiteY4" fmla="*/ 0 h 835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72824" h="835972">
                <a:moveTo>
                  <a:pt x="415053" y="0"/>
                </a:moveTo>
                <a:lnTo>
                  <a:pt x="3957771" y="0"/>
                </a:lnTo>
                <a:lnTo>
                  <a:pt x="4372824" y="835972"/>
                </a:lnTo>
                <a:lnTo>
                  <a:pt x="0" y="835972"/>
                </a:lnTo>
                <a:lnTo>
                  <a:pt x="415053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235" name="Freeform: Shape 234">
            <a:extLst>
              <a:ext uri="{FF2B5EF4-FFF2-40B4-BE49-F238E27FC236}">
                <a16:creationId xmlns:a16="http://schemas.microsoft.com/office/drawing/2014/main" id="{49C52A5B-E807-48AC-AE5E-8610D66DC773}"/>
              </a:ext>
            </a:extLst>
          </p:cNvPr>
          <p:cNvSpPr/>
          <p:nvPr userDrawn="1"/>
        </p:nvSpPr>
        <p:spPr>
          <a:xfrm>
            <a:off x="3182578" y="1798635"/>
            <a:ext cx="2850100" cy="862390"/>
          </a:xfrm>
          <a:custGeom>
            <a:avLst/>
            <a:gdLst>
              <a:gd name="connsiteX0" fmla="*/ 0 w 6679728"/>
              <a:gd name="connsiteY0" fmla="*/ 0 h 862390"/>
              <a:gd name="connsiteX1" fmla="*/ 208230 w 6679728"/>
              <a:gd name="connsiteY1" fmla="*/ 0 h 862390"/>
              <a:gd name="connsiteX2" fmla="*/ 416460 w 6679728"/>
              <a:gd name="connsiteY2" fmla="*/ 0 h 862390"/>
              <a:gd name="connsiteX3" fmla="*/ 416461 w 6679728"/>
              <a:gd name="connsiteY3" fmla="*/ 0 h 862390"/>
              <a:gd name="connsiteX4" fmla="*/ 651850 w 6679728"/>
              <a:gd name="connsiteY4" fmla="*/ 0 h 862390"/>
              <a:gd name="connsiteX5" fmla="*/ 860080 w 6679728"/>
              <a:gd name="connsiteY5" fmla="*/ 0 h 862390"/>
              <a:gd name="connsiteX6" fmla="*/ 1068310 w 6679728"/>
              <a:gd name="connsiteY6" fmla="*/ 0 h 862390"/>
              <a:gd name="connsiteX7" fmla="*/ 1303700 w 6679728"/>
              <a:gd name="connsiteY7" fmla="*/ 0 h 862390"/>
              <a:gd name="connsiteX8" fmla="*/ 1520983 w 6679728"/>
              <a:gd name="connsiteY8" fmla="*/ 0 h 862390"/>
              <a:gd name="connsiteX9" fmla="*/ 1729213 w 6679728"/>
              <a:gd name="connsiteY9" fmla="*/ 0 h 862390"/>
              <a:gd name="connsiteX10" fmla="*/ 1964603 w 6679728"/>
              <a:gd name="connsiteY10" fmla="*/ 0 h 862390"/>
              <a:gd name="connsiteX11" fmla="*/ 2199993 w 6679728"/>
              <a:gd name="connsiteY11" fmla="*/ 0 h 862390"/>
              <a:gd name="connsiteX12" fmla="*/ 2408223 w 6679728"/>
              <a:gd name="connsiteY12" fmla="*/ 0 h 862390"/>
              <a:gd name="connsiteX13" fmla="*/ 2643613 w 6679728"/>
              <a:gd name="connsiteY13" fmla="*/ 0 h 862390"/>
              <a:gd name="connsiteX14" fmla="*/ 2824681 w 6679728"/>
              <a:gd name="connsiteY14" fmla="*/ 0 h 862390"/>
              <a:gd name="connsiteX15" fmla="*/ 3032911 w 6679728"/>
              <a:gd name="connsiteY15" fmla="*/ 0 h 862390"/>
              <a:gd name="connsiteX16" fmla="*/ 3241141 w 6679728"/>
              <a:gd name="connsiteY16" fmla="*/ 0 h 862390"/>
              <a:gd name="connsiteX17" fmla="*/ 3476531 w 6679728"/>
              <a:gd name="connsiteY17" fmla="*/ 0 h 862390"/>
              <a:gd name="connsiteX18" fmla="*/ 3684761 w 6679728"/>
              <a:gd name="connsiteY18" fmla="*/ 0 h 862390"/>
              <a:gd name="connsiteX19" fmla="*/ 3892991 w 6679728"/>
              <a:gd name="connsiteY19" fmla="*/ 0 h 862390"/>
              <a:gd name="connsiteX20" fmla="*/ 4128381 w 6679728"/>
              <a:gd name="connsiteY20" fmla="*/ 0 h 862390"/>
              <a:gd name="connsiteX21" fmla="*/ 4345664 w 6679728"/>
              <a:gd name="connsiteY21" fmla="*/ 0 h 862390"/>
              <a:gd name="connsiteX22" fmla="*/ 4553894 w 6679728"/>
              <a:gd name="connsiteY22" fmla="*/ 0 h 862390"/>
              <a:gd name="connsiteX23" fmla="*/ 4789284 w 6679728"/>
              <a:gd name="connsiteY23" fmla="*/ 0 h 862390"/>
              <a:gd name="connsiteX24" fmla="*/ 5024674 w 6679728"/>
              <a:gd name="connsiteY24" fmla="*/ 0 h 862390"/>
              <a:gd name="connsiteX25" fmla="*/ 5232904 w 6679728"/>
              <a:gd name="connsiteY25" fmla="*/ 0 h 862390"/>
              <a:gd name="connsiteX26" fmla="*/ 5468294 w 6679728"/>
              <a:gd name="connsiteY26" fmla="*/ 0 h 862390"/>
              <a:gd name="connsiteX27" fmla="*/ 5549775 w 6679728"/>
              <a:gd name="connsiteY27" fmla="*/ 0 h 862390"/>
              <a:gd name="connsiteX28" fmla="*/ 5758005 w 6679728"/>
              <a:gd name="connsiteY28" fmla="*/ 0 h 862390"/>
              <a:gd name="connsiteX29" fmla="*/ 5993395 w 6679728"/>
              <a:gd name="connsiteY29" fmla="*/ 0 h 862390"/>
              <a:gd name="connsiteX30" fmla="*/ 6228785 w 6679728"/>
              <a:gd name="connsiteY30" fmla="*/ 0 h 862390"/>
              <a:gd name="connsiteX31" fmla="*/ 6471498 w 6679728"/>
              <a:gd name="connsiteY31" fmla="*/ 0 h 862390"/>
              <a:gd name="connsiteX32" fmla="*/ 6679728 w 6679728"/>
              <a:gd name="connsiteY32" fmla="*/ 0 h 862390"/>
              <a:gd name="connsiteX33" fmla="*/ 6679728 w 6679728"/>
              <a:gd name="connsiteY33" fmla="*/ 1 h 862390"/>
              <a:gd name="connsiteX34" fmla="*/ 6643502 w 6679728"/>
              <a:gd name="connsiteY34" fmla="*/ 1 h 862390"/>
              <a:gd name="connsiteX35" fmla="*/ 6408112 w 6679728"/>
              <a:gd name="connsiteY35" fmla="*/ 1 h 862390"/>
              <a:gd name="connsiteX36" fmla="*/ 6199882 w 6679728"/>
              <a:gd name="connsiteY36" fmla="*/ 1 h 862390"/>
              <a:gd name="connsiteX37" fmla="*/ 6118401 w 6679728"/>
              <a:gd name="connsiteY37" fmla="*/ 1 h 862390"/>
              <a:gd name="connsiteX38" fmla="*/ 5883011 w 6679728"/>
              <a:gd name="connsiteY38" fmla="*/ 1 h 862390"/>
              <a:gd name="connsiteX39" fmla="*/ 5674781 w 6679728"/>
              <a:gd name="connsiteY39" fmla="*/ 1 h 862390"/>
              <a:gd name="connsiteX40" fmla="*/ 5439391 w 6679728"/>
              <a:gd name="connsiteY40" fmla="*/ 1 h 862390"/>
              <a:gd name="connsiteX41" fmla="*/ 5204001 w 6679728"/>
              <a:gd name="connsiteY41" fmla="*/ 1 h 862390"/>
              <a:gd name="connsiteX42" fmla="*/ 4995771 w 6679728"/>
              <a:gd name="connsiteY42" fmla="*/ 1 h 862390"/>
              <a:gd name="connsiteX43" fmla="*/ 4778488 w 6679728"/>
              <a:gd name="connsiteY43" fmla="*/ 1 h 862390"/>
              <a:gd name="connsiteX44" fmla="*/ 4543098 w 6679728"/>
              <a:gd name="connsiteY44" fmla="*/ 1 h 862390"/>
              <a:gd name="connsiteX45" fmla="*/ 4334868 w 6679728"/>
              <a:gd name="connsiteY45" fmla="*/ 1 h 862390"/>
              <a:gd name="connsiteX46" fmla="*/ 4126638 w 6679728"/>
              <a:gd name="connsiteY46" fmla="*/ 1 h 862390"/>
              <a:gd name="connsiteX47" fmla="*/ 3891248 w 6679728"/>
              <a:gd name="connsiteY47" fmla="*/ 1 h 862390"/>
              <a:gd name="connsiteX48" fmla="*/ 3683018 w 6679728"/>
              <a:gd name="connsiteY48" fmla="*/ 1 h 862390"/>
              <a:gd name="connsiteX49" fmla="*/ 3474788 w 6679728"/>
              <a:gd name="connsiteY49" fmla="*/ 1 h 862390"/>
              <a:gd name="connsiteX50" fmla="*/ 3293720 w 6679728"/>
              <a:gd name="connsiteY50" fmla="*/ 1 h 862390"/>
              <a:gd name="connsiteX51" fmla="*/ 3058330 w 6679728"/>
              <a:gd name="connsiteY51" fmla="*/ 1 h 862390"/>
              <a:gd name="connsiteX52" fmla="*/ 2850100 w 6679728"/>
              <a:gd name="connsiteY52" fmla="*/ 1 h 862390"/>
              <a:gd name="connsiteX53" fmla="*/ 2614710 w 6679728"/>
              <a:gd name="connsiteY53" fmla="*/ 1 h 862390"/>
              <a:gd name="connsiteX54" fmla="*/ 2379320 w 6679728"/>
              <a:gd name="connsiteY54" fmla="*/ 1 h 862390"/>
              <a:gd name="connsiteX55" fmla="*/ 2171090 w 6679728"/>
              <a:gd name="connsiteY55" fmla="*/ 1 h 862390"/>
              <a:gd name="connsiteX56" fmla="*/ 1953807 w 6679728"/>
              <a:gd name="connsiteY56" fmla="*/ 1 h 862390"/>
              <a:gd name="connsiteX57" fmla="*/ 1718417 w 6679728"/>
              <a:gd name="connsiteY57" fmla="*/ 1 h 862390"/>
              <a:gd name="connsiteX58" fmla="*/ 1510187 w 6679728"/>
              <a:gd name="connsiteY58" fmla="*/ 1 h 862390"/>
              <a:gd name="connsiteX59" fmla="*/ 1301957 w 6679728"/>
              <a:gd name="connsiteY59" fmla="*/ 1 h 862390"/>
              <a:gd name="connsiteX60" fmla="*/ 1066568 w 6679728"/>
              <a:gd name="connsiteY60" fmla="*/ 1 h 862390"/>
              <a:gd name="connsiteX61" fmla="*/ 1066567 w 6679728"/>
              <a:gd name="connsiteY61" fmla="*/ 1 h 862390"/>
              <a:gd name="connsiteX62" fmla="*/ 858337 w 6679728"/>
              <a:gd name="connsiteY62" fmla="*/ 1 h 862390"/>
              <a:gd name="connsiteX63" fmla="*/ 650107 w 6679728"/>
              <a:gd name="connsiteY63" fmla="*/ 1 h 862390"/>
              <a:gd name="connsiteX64" fmla="*/ 1078171 w 6679728"/>
              <a:gd name="connsiteY64" fmla="*/ 862390 h 862390"/>
              <a:gd name="connsiteX65" fmla="*/ 428065 w 6679728"/>
              <a:gd name="connsiteY65" fmla="*/ 862390 h 862390"/>
              <a:gd name="connsiteX66" fmla="*/ 0 w 6679728"/>
              <a:gd name="connsiteY66" fmla="*/ 0 h 862390"/>
              <a:gd name="connsiteX0" fmla="*/ 0 w 6679728"/>
              <a:gd name="connsiteY0" fmla="*/ 0 h 862390"/>
              <a:gd name="connsiteX1" fmla="*/ 208230 w 6679728"/>
              <a:gd name="connsiteY1" fmla="*/ 0 h 862390"/>
              <a:gd name="connsiteX2" fmla="*/ 416460 w 6679728"/>
              <a:gd name="connsiteY2" fmla="*/ 0 h 862390"/>
              <a:gd name="connsiteX3" fmla="*/ 416461 w 6679728"/>
              <a:gd name="connsiteY3" fmla="*/ 0 h 862390"/>
              <a:gd name="connsiteX4" fmla="*/ 651850 w 6679728"/>
              <a:gd name="connsiteY4" fmla="*/ 0 h 862390"/>
              <a:gd name="connsiteX5" fmla="*/ 860080 w 6679728"/>
              <a:gd name="connsiteY5" fmla="*/ 0 h 862390"/>
              <a:gd name="connsiteX6" fmla="*/ 1068310 w 6679728"/>
              <a:gd name="connsiteY6" fmla="*/ 0 h 862390"/>
              <a:gd name="connsiteX7" fmla="*/ 1303700 w 6679728"/>
              <a:gd name="connsiteY7" fmla="*/ 0 h 862390"/>
              <a:gd name="connsiteX8" fmla="*/ 1520983 w 6679728"/>
              <a:gd name="connsiteY8" fmla="*/ 0 h 862390"/>
              <a:gd name="connsiteX9" fmla="*/ 1729213 w 6679728"/>
              <a:gd name="connsiteY9" fmla="*/ 0 h 862390"/>
              <a:gd name="connsiteX10" fmla="*/ 1964603 w 6679728"/>
              <a:gd name="connsiteY10" fmla="*/ 0 h 862390"/>
              <a:gd name="connsiteX11" fmla="*/ 2199993 w 6679728"/>
              <a:gd name="connsiteY11" fmla="*/ 0 h 862390"/>
              <a:gd name="connsiteX12" fmla="*/ 2408223 w 6679728"/>
              <a:gd name="connsiteY12" fmla="*/ 0 h 862390"/>
              <a:gd name="connsiteX13" fmla="*/ 2643613 w 6679728"/>
              <a:gd name="connsiteY13" fmla="*/ 0 h 862390"/>
              <a:gd name="connsiteX14" fmla="*/ 2824681 w 6679728"/>
              <a:gd name="connsiteY14" fmla="*/ 0 h 862390"/>
              <a:gd name="connsiteX15" fmla="*/ 3032911 w 6679728"/>
              <a:gd name="connsiteY15" fmla="*/ 0 h 862390"/>
              <a:gd name="connsiteX16" fmla="*/ 3241141 w 6679728"/>
              <a:gd name="connsiteY16" fmla="*/ 0 h 862390"/>
              <a:gd name="connsiteX17" fmla="*/ 3476531 w 6679728"/>
              <a:gd name="connsiteY17" fmla="*/ 0 h 862390"/>
              <a:gd name="connsiteX18" fmla="*/ 3684761 w 6679728"/>
              <a:gd name="connsiteY18" fmla="*/ 0 h 862390"/>
              <a:gd name="connsiteX19" fmla="*/ 3892991 w 6679728"/>
              <a:gd name="connsiteY19" fmla="*/ 0 h 862390"/>
              <a:gd name="connsiteX20" fmla="*/ 4128381 w 6679728"/>
              <a:gd name="connsiteY20" fmla="*/ 0 h 862390"/>
              <a:gd name="connsiteX21" fmla="*/ 4345664 w 6679728"/>
              <a:gd name="connsiteY21" fmla="*/ 0 h 862390"/>
              <a:gd name="connsiteX22" fmla="*/ 4553894 w 6679728"/>
              <a:gd name="connsiteY22" fmla="*/ 0 h 862390"/>
              <a:gd name="connsiteX23" fmla="*/ 4789284 w 6679728"/>
              <a:gd name="connsiteY23" fmla="*/ 0 h 862390"/>
              <a:gd name="connsiteX24" fmla="*/ 5024674 w 6679728"/>
              <a:gd name="connsiteY24" fmla="*/ 0 h 862390"/>
              <a:gd name="connsiteX25" fmla="*/ 5232904 w 6679728"/>
              <a:gd name="connsiteY25" fmla="*/ 0 h 862390"/>
              <a:gd name="connsiteX26" fmla="*/ 5468294 w 6679728"/>
              <a:gd name="connsiteY26" fmla="*/ 0 h 862390"/>
              <a:gd name="connsiteX27" fmla="*/ 5549775 w 6679728"/>
              <a:gd name="connsiteY27" fmla="*/ 0 h 862390"/>
              <a:gd name="connsiteX28" fmla="*/ 5758005 w 6679728"/>
              <a:gd name="connsiteY28" fmla="*/ 0 h 862390"/>
              <a:gd name="connsiteX29" fmla="*/ 5993395 w 6679728"/>
              <a:gd name="connsiteY29" fmla="*/ 0 h 862390"/>
              <a:gd name="connsiteX30" fmla="*/ 6228785 w 6679728"/>
              <a:gd name="connsiteY30" fmla="*/ 0 h 862390"/>
              <a:gd name="connsiteX31" fmla="*/ 6471498 w 6679728"/>
              <a:gd name="connsiteY31" fmla="*/ 0 h 862390"/>
              <a:gd name="connsiteX32" fmla="*/ 6679728 w 6679728"/>
              <a:gd name="connsiteY32" fmla="*/ 0 h 862390"/>
              <a:gd name="connsiteX33" fmla="*/ 6679728 w 6679728"/>
              <a:gd name="connsiteY33" fmla="*/ 1 h 862390"/>
              <a:gd name="connsiteX34" fmla="*/ 6408112 w 6679728"/>
              <a:gd name="connsiteY34" fmla="*/ 1 h 862390"/>
              <a:gd name="connsiteX35" fmla="*/ 6199882 w 6679728"/>
              <a:gd name="connsiteY35" fmla="*/ 1 h 862390"/>
              <a:gd name="connsiteX36" fmla="*/ 6118401 w 6679728"/>
              <a:gd name="connsiteY36" fmla="*/ 1 h 862390"/>
              <a:gd name="connsiteX37" fmla="*/ 5883011 w 6679728"/>
              <a:gd name="connsiteY37" fmla="*/ 1 h 862390"/>
              <a:gd name="connsiteX38" fmla="*/ 5674781 w 6679728"/>
              <a:gd name="connsiteY38" fmla="*/ 1 h 862390"/>
              <a:gd name="connsiteX39" fmla="*/ 5439391 w 6679728"/>
              <a:gd name="connsiteY39" fmla="*/ 1 h 862390"/>
              <a:gd name="connsiteX40" fmla="*/ 5204001 w 6679728"/>
              <a:gd name="connsiteY40" fmla="*/ 1 h 862390"/>
              <a:gd name="connsiteX41" fmla="*/ 4995771 w 6679728"/>
              <a:gd name="connsiteY41" fmla="*/ 1 h 862390"/>
              <a:gd name="connsiteX42" fmla="*/ 4778488 w 6679728"/>
              <a:gd name="connsiteY42" fmla="*/ 1 h 862390"/>
              <a:gd name="connsiteX43" fmla="*/ 4543098 w 6679728"/>
              <a:gd name="connsiteY43" fmla="*/ 1 h 862390"/>
              <a:gd name="connsiteX44" fmla="*/ 4334868 w 6679728"/>
              <a:gd name="connsiteY44" fmla="*/ 1 h 862390"/>
              <a:gd name="connsiteX45" fmla="*/ 4126638 w 6679728"/>
              <a:gd name="connsiteY45" fmla="*/ 1 h 862390"/>
              <a:gd name="connsiteX46" fmla="*/ 3891248 w 6679728"/>
              <a:gd name="connsiteY46" fmla="*/ 1 h 862390"/>
              <a:gd name="connsiteX47" fmla="*/ 3683018 w 6679728"/>
              <a:gd name="connsiteY47" fmla="*/ 1 h 862390"/>
              <a:gd name="connsiteX48" fmla="*/ 3474788 w 6679728"/>
              <a:gd name="connsiteY48" fmla="*/ 1 h 862390"/>
              <a:gd name="connsiteX49" fmla="*/ 3293720 w 6679728"/>
              <a:gd name="connsiteY49" fmla="*/ 1 h 862390"/>
              <a:gd name="connsiteX50" fmla="*/ 3058330 w 6679728"/>
              <a:gd name="connsiteY50" fmla="*/ 1 h 862390"/>
              <a:gd name="connsiteX51" fmla="*/ 2850100 w 6679728"/>
              <a:gd name="connsiteY51" fmla="*/ 1 h 862390"/>
              <a:gd name="connsiteX52" fmla="*/ 2614710 w 6679728"/>
              <a:gd name="connsiteY52" fmla="*/ 1 h 862390"/>
              <a:gd name="connsiteX53" fmla="*/ 2379320 w 6679728"/>
              <a:gd name="connsiteY53" fmla="*/ 1 h 862390"/>
              <a:gd name="connsiteX54" fmla="*/ 2171090 w 6679728"/>
              <a:gd name="connsiteY54" fmla="*/ 1 h 862390"/>
              <a:gd name="connsiteX55" fmla="*/ 1953807 w 6679728"/>
              <a:gd name="connsiteY55" fmla="*/ 1 h 862390"/>
              <a:gd name="connsiteX56" fmla="*/ 1718417 w 6679728"/>
              <a:gd name="connsiteY56" fmla="*/ 1 h 862390"/>
              <a:gd name="connsiteX57" fmla="*/ 1510187 w 6679728"/>
              <a:gd name="connsiteY57" fmla="*/ 1 h 862390"/>
              <a:gd name="connsiteX58" fmla="*/ 1301957 w 6679728"/>
              <a:gd name="connsiteY58" fmla="*/ 1 h 862390"/>
              <a:gd name="connsiteX59" fmla="*/ 1066568 w 6679728"/>
              <a:gd name="connsiteY59" fmla="*/ 1 h 862390"/>
              <a:gd name="connsiteX60" fmla="*/ 1066567 w 6679728"/>
              <a:gd name="connsiteY60" fmla="*/ 1 h 862390"/>
              <a:gd name="connsiteX61" fmla="*/ 858337 w 6679728"/>
              <a:gd name="connsiteY61" fmla="*/ 1 h 862390"/>
              <a:gd name="connsiteX62" fmla="*/ 650107 w 6679728"/>
              <a:gd name="connsiteY62" fmla="*/ 1 h 862390"/>
              <a:gd name="connsiteX63" fmla="*/ 1078171 w 6679728"/>
              <a:gd name="connsiteY63" fmla="*/ 862390 h 862390"/>
              <a:gd name="connsiteX64" fmla="*/ 428065 w 6679728"/>
              <a:gd name="connsiteY64" fmla="*/ 862390 h 862390"/>
              <a:gd name="connsiteX65" fmla="*/ 0 w 6679728"/>
              <a:gd name="connsiteY65" fmla="*/ 0 h 862390"/>
              <a:gd name="connsiteX0" fmla="*/ 0 w 6679728"/>
              <a:gd name="connsiteY0" fmla="*/ 0 h 862390"/>
              <a:gd name="connsiteX1" fmla="*/ 208230 w 6679728"/>
              <a:gd name="connsiteY1" fmla="*/ 0 h 862390"/>
              <a:gd name="connsiteX2" fmla="*/ 416460 w 6679728"/>
              <a:gd name="connsiteY2" fmla="*/ 0 h 862390"/>
              <a:gd name="connsiteX3" fmla="*/ 416461 w 6679728"/>
              <a:gd name="connsiteY3" fmla="*/ 0 h 862390"/>
              <a:gd name="connsiteX4" fmla="*/ 651850 w 6679728"/>
              <a:gd name="connsiteY4" fmla="*/ 0 h 862390"/>
              <a:gd name="connsiteX5" fmla="*/ 860080 w 6679728"/>
              <a:gd name="connsiteY5" fmla="*/ 0 h 862390"/>
              <a:gd name="connsiteX6" fmla="*/ 1068310 w 6679728"/>
              <a:gd name="connsiteY6" fmla="*/ 0 h 862390"/>
              <a:gd name="connsiteX7" fmla="*/ 1303700 w 6679728"/>
              <a:gd name="connsiteY7" fmla="*/ 0 h 862390"/>
              <a:gd name="connsiteX8" fmla="*/ 1520983 w 6679728"/>
              <a:gd name="connsiteY8" fmla="*/ 0 h 862390"/>
              <a:gd name="connsiteX9" fmla="*/ 1729213 w 6679728"/>
              <a:gd name="connsiteY9" fmla="*/ 0 h 862390"/>
              <a:gd name="connsiteX10" fmla="*/ 1964603 w 6679728"/>
              <a:gd name="connsiteY10" fmla="*/ 0 h 862390"/>
              <a:gd name="connsiteX11" fmla="*/ 2199993 w 6679728"/>
              <a:gd name="connsiteY11" fmla="*/ 0 h 862390"/>
              <a:gd name="connsiteX12" fmla="*/ 2408223 w 6679728"/>
              <a:gd name="connsiteY12" fmla="*/ 0 h 862390"/>
              <a:gd name="connsiteX13" fmla="*/ 2643613 w 6679728"/>
              <a:gd name="connsiteY13" fmla="*/ 0 h 862390"/>
              <a:gd name="connsiteX14" fmla="*/ 2824681 w 6679728"/>
              <a:gd name="connsiteY14" fmla="*/ 0 h 862390"/>
              <a:gd name="connsiteX15" fmla="*/ 3032911 w 6679728"/>
              <a:gd name="connsiteY15" fmla="*/ 0 h 862390"/>
              <a:gd name="connsiteX16" fmla="*/ 3241141 w 6679728"/>
              <a:gd name="connsiteY16" fmla="*/ 0 h 862390"/>
              <a:gd name="connsiteX17" fmla="*/ 3476531 w 6679728"/>
              <a:gd name="connsiteY17" fmla="*/ 0 h 862390"/>
              <a:gd name="connsiteX18" fmla="*/ 3684761 w 6679728"/>
              <a:gd name="connsiteY18" fmla="*/ 0 h 862390"/>
              <a:gd name="connsiteX19" fmla="*/ 3892991 w 6679728"/>
              <a:gd name="connsiteY19" fmla="*/ 0 h 862390"/>
              <a:gd name="connsiteX20" fmla="*/ 4128381 w 6679728"/>
              <a:gd name="connsiteY20" fmla="*/ 0 h 862390"/>
              <a:gd name="connsiteX21" fmla="*/ 4345664 w 6679728"/>
              <a:gd name="connsiteY21" fmla="*/ 0 h 862390"/>
              <a:gd name="connsiteX22" fmla="*/ 4553894 w 6679728"/>
              <a:gd name="connsiteY22" fmla="*/ 0 h 862390"/>
              <a:gd name="connsiteX23" fmla="*/ 4789284 w 6679728"/>
              <a:gd name="connsiteY23" fmla="*/ 0 h 862390"/>
              <a:gd name="connsiteX24" fmla="*/ 5024674 w 6679728"/>
              <a:gd name="connsiteY24" fmla="*/ 0 h 862390"/>
              <a:gd name="connsiteX25" fmla="*/ 5232904 w 6679728"/>
              <a:gd name="connsiteY25" fmla="*/ 0 h 862390"/>
              <a:gd name="connsiteX26" fmla="*/ 5468294 w 6679728"/>
              <a:gd name="connsiteY26" fmla="*/ 0 h 862390"/>
              <a:gd name="connsiteX27" fmla="*/ 5549775 w 6679728"/>
              <a:gd name="connsiteY27" fmla="*/ 0 h 862390"/>
              <a:gd name="connsiteX28" fmla="*/ 5758005 w 6679728"/>
              <a:gd name="connsiteY28" fmla="*/ 0 h 862390"/>
              <a:gd name="connsiteX29" fmla="*/ 5993395 w 6679728"/>
              <a:gd name="connsiteY29" fmla="*/ 0 h 862390"/>
              <a:gd name="connsiteX30" fmla="*/ 6228785 w 6679728"/>
              <a:gd name="connsiteY30" fmla="*/ 0 h 862390"/>
              <a:gd name="connsiteX31" fmla="*/ 6471498 w 6679728"/>
              <a:gd name="connsiteY31" fmla="*/ 0 h 862390"/>
              <a:gd name="connsiteX32" fmla="*/ 6679728 w 6679728"/>
              <a:gd name="connsiteY32" fmla="*/ 0 h 862390"/>
              <a:gd name="connsiteX33" fmla="*/ 6408112 w 6679728"/>
              <a:gd name="connsiteY33" fmla="*/ 1 h 862390"/>
              <a:gd name="connsiteX34" fmla="*/ 6199882 w 6679728"/>
              <a:gd name="connsiteY34" fmla="*/ 1 h 862390"/>
              <a:gd name="connsiteX35" fmla="*/ 6118401 w 6679728"/>
              <a:gd name="connsiteY35" fmla="*/ 1 h 862390"/>
              <a:gd name="connsiteX36" fmla="*/ 5883011 w 6679728"/>
              <a:gd name="connsiteY36" fmla="*/ 1 h 862390"/>
              <a:gd name="connsiteX37" fmla="*/ 5674781 w 6679728"/>
              <a:gd name="connsiteY37" fmla="*/ 1 h 862390"/>
              <a:gd name="connsiteX38" fmla="*/ 5439391 w 6679728"/>
              <a:gd name="connsiteY38" fmla="*/ 1 h 862390"/>
              <a:gd name="connsiteX39" fmla="*/ 5204001 w 6679728"/>
              <a:gd name="connsiteY39" fmla="*/ 1 h 862390"/>
              <a:gd name="connsiteX40" fmla="*/ 4995771 w 6679728"/>
              <a:gd name="connsiteY40" fmla="*/ 1 h 862390"/>
              <a:gd name="connsiteX41" fmla="*/ 4778488 w 6679728"/>
              <a:gd name="connsiteY41" fmla="*/ 1 h 862390"/>
              <a:gd name="connsiteX42" fmla="*/ 4543098 w 6679728"/>
              <a:gd name="connsiteY42" fmla="*/ 1 h 862390"/>
              <a:gd name="connsiteX43" fmla="*/ 4334868 w 6679728"/>
              <a:gd name="connsiteY43" fmla="*/ 1 h 862390"/>
              <a:gd name="connsiteX44" fmla="*/ 4126638 w 6679728"/>
              <a:gd name="connsiteY44" fmla="*/ 1 h 862390"/>
              <a:gd name="connsiteX45" fmla="*/ 3891248 w 6679728"/>
              <a:gd name="connsiteY45" fmla="*/ 1 h 862390"/>
              <a:gd name="connsiteX46" fmla="*/ 3683018 w 6679728"/>
              <a:gd name="connsiteY46" fmla="*/ 1 h 862390"/>
              <a:gd name="connsiteX47" fmla="*/ 3474788 w 6679728"/>
              <a:gd name="connsiteY47" fmla="*/ 1 h 862390"/>
              <a:gd name="connsiteX48" fmla="*/ 3293720 w 6679728"/>
              <a:gd name="connsiteY48" fmla="*/ 1 h 862390"/>
              <a:gd name="connsiteX49" fmla="*/ 3058330 w 6679728"/>
              <a:gd name="connsiteY49" fmla="*/ 1 h 862390"/>
              <a:gd name="connsiteX50" fmla="*/ 2850100 w 6679728"/>
              <a:gd name="connsiteY50" fmla="*/ 1 h 862390"/>
              <a:gd name="connsiteX51" fmla="*/ 2614710 w 6679728"/>
              <a:gd name="connsiteY51" fmla="*/ 1 h 862390"/>
              <a:gd name="connsiteX52" fmla="*/ 2379320 w 6679728"/>
              <a:gd name="connsiteY52" fmla="*/ 1 h 862390"/>
              <a:gd name="connsiteX53" fmla="*/ 2171090 w 6679728"/>
              <a:gd name="connsiteY53" fmla="*/ 1 h 862390"/>
              <a:gd name="connsiteX54" fmla="*/ 1953807 w 6679728"/>
              <a:gd name="connsiteY54" fmla="*/ 1 h 862390"/>
              <a:gd name="connsiteX55" fmla="*/ 1718417 w 6679728"/>
              <a:gd name="connsiteY55" fmla="*/ 1 h 862390"/>
              <a:gd name="connsiteX56" fmla="*/ 1510187 w 6679728"/>
              <a:gd name="connsiteY56" fmla="*/ 1 h 862390"/>
              <a:gd name="connsiteX57" fmla="*/ 1301957 w 6679728"/>
              <a:gd name="connsiteY57" fmla="*/ 1 h 862390"/>
              <a:gd name="connsiteX58" fmla="*/ 1066568 w 6679728"/>
              <a:gd name="connsiteY58" fmla="*/ 1 h 862390"/>
              <a:gd name="connsiteX59" fmla="*/ 1066567 w 6679728"/>
              <a:gd name="connsiteY59" fmla="*/ 1 h 862390"/>
              <a:gd name="connsiteX60" fmla="*/ 858337 w 6679728"/>
              <a:gd name="connsiteY60" fmla="*/ 1 h 862390"/>
              <a:gd name="connsiteX61" fmla="*/ 650107 w 6679728"/>
              <a:gd name="connsiteY61" fmla="*/ 1 h 862390"/>
              <a:gd name="connsiteX62" fmla="*/ 1078171 w 6679728"/>
              <a:gd name="connsiteY62" fmla="*/ 862390 h 862390"/>
              <a:gd name="connsiteX63" fmla="*/ 428065 w 6679728"/>
              <a:gd name="connsiteY63" fmla="*/ 862390 h 862390"/>
              <a:gd name="connsiteX64" fmla="*/ 0 w 6679728"/>
              <a:gd name="connsiteY64" fmla="*/ 0 h 862390"/>
              <a:gd name="connsiteX0" fmla="*/ 0 w 6471498"/>
              <a:gd name="connsiteY0" fmla="*/ 0 h 862390"/>
              <a:gd name="connsiteX1" fmla="*/ 208230 w 6471498"/>
              <a:gd name="connsiteY1" fmla="*/ 0 h 862390"/>
              <a:gd name="connsiteX2" fmla="*/ 416460 w 6471498"/>
              <a:gd name="connsiteY2" fmla="*/ 0 h 862390"/>
              <a:gd name="connsiteX3" fmla="*/ 416461 w 6471498"/>
              <a:gd name="connsiteY3" fmla="*/ 0 h 862390"/>
              <a:gd name="connsiteX4" fmla="*/ 651850 w 6471498"/>
              <a:gd name="connsiteY4" fmla="*/ 0 h 862390"/>
              <a:gd name="connsiteX5" fmla="*/ 860080 w 6471498"/>
              <a:gd name="connsiteY5" fmla="*/ 0 h 862390"/>
              <a:gd name="connsiteX6" fmla="*/ 1068310 w 6471498"/>
              <a:gd name="connsiteY6" fmla="*/ 0 h 862390"/>
              <a:gd name="connsiteX7" fmla="*/ 1303700 w 6471498"/>
              <a:gd name="connsiteY7" fmla="*/ 0 h 862390"/>
              <a:gd name="connsiteX8" fmla="*/ 1520983 w 6471498"/>
              <a:gd name="connsiteY8" fmla="*/ 0 h 862390"/>
              <a:gd name="connsiteX9" fmla="*/ 1729213 w 6471498"/>
              <a:gd name="connsiteY9" fmla="*/ 0 h 862390"/>
              <a:gd name="connsiteX10" fmla="*/ 1964603 w 6471498"/>
              <a:gd name="connsiteY10" fmla="*/ 0 h 862390"/>
              <a:gd name="connsiteX11" fmla="*/ 2199993 w 6471498"/>
              <a:gd name="connsiteY11" fmla="*/ 0 h 862390"/>
              <a:gd name="connsiteX12" fmla="*/ 2408223 w 6471498"/>
              <a:gd name="connsiteY12" fmla="*/ 0 h 862390"/>
              <a:gd name="connsiteX13" fmla="*/ 2643613 w 6471498"/>
              <a:gd name="connsiteY13" fmla="*/ 0 h 862390"/>
              <a:gd name="connsiteX14" fmla="*/ 2824681 w 6471498"/>
              <a:gd name="connsiteY14" fmla="*/ 0 h 862390"/>
              <a:gd name="connsiteX15" fmla="*/ 3032911 w 6471498"/>
              <a:gd name="connsiteY15" fmla="*/ 0 h 862390"/>
              <a:gd name="connsiteX16" fmla="*/ 3241141 w 6471498"/>
              <a:gd name="connsiteY16" fmla="*/ 0 h 862390"/>
              <a:gd name="connsiteX17" fmla="*/ 3476531 w 6471498"/>
              <a:gd name="connsiteY17" fmla="*/ 0 h 862390"/>
              <a:gd name="connsiteX18" fmla="*/ 3684761 w 6471498"/>
              <a:gd name="connsiteY18" fmla="*/ 0 h 862390"/>
              <a:gd name="connsiteX19" fmla="*/ 3892991 w 6471498"/>
              <a:gd name="connsiteY19" fmla="*/ 0 h 862390"/>
              <a:gd name="connsiteX20" fmla="*/ 4128381 w 6471498"/>
              <a:gd name="connsiteY20" fmla="*/ 0 h 862390"/>
              <a:gd name="connsiteX21" fmla="*/ 4345664 w 6471498"/>
              <a:gd name="connsiteY21" fmla="*/ 0 h 862390"/>
              <a:gd name="connsiteX22" fmla="*/ 4553894 w 6471498"/>
              <a:gd name="connsiteY22" fmla="*/ 0 h 862390"/>
              <a:gd name="connsiteX23" fmla="*/ 4789284 w 6471498"/>
              <a:gd name="connsiteY23" fmla="*/ 0 h 862390"/>
              <a:gd name="connsiteX24" fmla="*/ 5024674 w 6471498"/>
              <a:gd name="connsiteY24" fmla="*/ 0 h 862390"/>
              <a:gd name="connsiteX25" fmla="*/ 5232904 w 6471498"/>
              <a:gd name="connsiteY25" fmla="*/ 0 h 862390"/>
              <a:gd name="connsiteX26" fmla="*/ 5468294 w 6471498"/>
              <a:gd name="connsiteY26" fmla="*/ 0 h 862390"/>
              <a:gd name="connsiteX27" fmla="*/ 5549775 w 6471498"/>
              <a:gd name="connsiteY27" fmla="*/ 0 h 862390"/>
              <a:gd name="connsiteX28" fmla="*/ 5758005 w 6471498"/>
              <a:gd name="connsiteY28" fmla="*/ 0 h 862390"/>
              <a:gd name="connsiteX29" fmla="*/ 5993395 w 6471498"/>
              <a:gd name="connsiteY29" fmla="*/ 0 h 862390"/>
              <a:gd name="connsiteX30" fmla="*/ 6228785 w 6471498"/>
              <a:gd name="connsiteY30" fmla="*/ 0 h 862390"/>
              <a:gd name="connsiteX31" fmla="*/ 6471498 w 6471498"/>
              <a:gd name="connsiteY31" fmla="*/ 0 h 862390"/>
              <a:gd name="connsiteX32" fmla="*/ 6408112 w 6471498"/>
              <a:gd name="connsiteY32" fmla="*/ 1 h 862390"/>
              <a:gd name="connsiteX33" fmla="*/ 6199882 w 6471498"/>
              <a:gd name="connsiteY33" fmla="*/ 1 h 862390"/>
              <a:gd name="connsiteX34" fmla="*/ 6118401 w 6471498"/>
              <a:gd name="connsiteY34" fmla="*/ 1 h 862390"/>
              <a:gd name="connsiteX35" fmla="*/ 5883011 w 6471498"/>
              <a:gd name="connsiteY35" fmla="*/ 1 h 862390"/>
              <a:gd name="connsiteX36" fmla="*/ 5674781 w 6471498"/>
              <a:gd name="connsiteY36" fmla="*/ 1 h 862390"/>
              <a:gd name="connsiteX37" fmla="*/ 5439391 w 6471498"/>
              <a:gd name="connsiteY37" fmla="*/ 1 h 862390"/>
              <a:gd name="connsiteX38" fmla="*/ 5204001 w 6471498"/>
              <a:gd name="connsiteY38" fmla="*/ 1 h 862390"/>
              <a:gd name="connsiteX39" fmla="*/ 4995771 w 6471498"/>
              <a:gd name="connsiteY39" fmla="*/ 1 h 862390"/>
              <a:gd name="connsiteX40" fmla="*/ 4778488 w 6471498"/>
              <a:gd name="connsiteY40" fmla="*/ 1 h 862390"/>
              <a:gd name="connsiteX41" fmla="*/ 4543098 w 6471498"/>
              <a:gd name="connsiteY41" fmla="*/ 1 h 862390"/>
              <a:gd name="connsiteX42" fmla="*/ 4334868 w 6471498"/>
              <a:gd name="connsiteY42" fmla="*/ 1 h 862390"/>
              <a:gd name="connsiteX43" fmla="*/ 4126638 w 6471498"/>
              <a:gd name="connsiteY43" fmla="*/ 1 h 862390"/>
              <a:gd name="connsiteX44" fmla="*/ 3891248 w 6471498"/>
              <a:gd name="connsiteY44" fmla="*/ 1 h 862390"/>
              <a:gd name="connsiteX45" fmla="*/ 3683018 w 6471498"/>
              <a:gd name="connsiteY45" fmla="*/ 1 h 862390"/>
              <a:gd name="connsiteX46" fmla="*/ 3474788 w 6471498"/>
              <a:gd name="connsiteY46" fmla="*/ 1 h 862390"/>
              <a:gd name="connsiteX47" fmla="*/ 3293720 w 6471498"/>
              <a:gd name="connsiteY47" fmla="*/ 1 h 862390"/>
              <a:gd name="connsiteX48" fmla="*/ 3058330 w 6471498"/>
              <a:gd name="connsiteY48" fmla="*/ 1 h 862390"/>
              <a:gd name="connsiteX49" fmla="*/ 2850100 w 6471498"/>
              <a:gd name="connsiteY49" fmla="*/ 1 h 862390"/>
              <a:gd name="connsiteX50" fmla="*/ 2614710 w 6471498"/>
              <a:gd name="connsiteY50" fmla="*/ 1 h 862390"/>
              <a:gd name="connsiteX51" fmla="*/ 2379320 w 6471498"/>
              <a:gd name="connsiteY51" fmla="*/ 1 h 862390"/>
              <a:gd name="connsiteX52" fmla="*/ 2171090 w 6471498"/>
              <a:gd name="connsiteY52" fmla="*/ 1 h 862390"/>
              <a:gd name="connsiteX53" fmla="*/ 1953807 w 6471498"/>
              <a:gd name="connsiteY53" fmla="*/ 1 h 862390"/>
              <a:gd name="connsiteX54" fmla="*/ 1718417 w 6471498"/>
              <a:gd name="connsiteY54" fmla="*/ 1 h 862390"/>
              <a:gd name="connsiteX55" fmla="*/ 1510187 w 6471498"/>
              <a:gd name="connsiteY55" fmla="*/ 1 h 862390"/>
              <a:gd name="connsiteX56" fmla="*/ 1301957 w 6471498"/>
              <a:gd name="connsiteY56" fmla="*/ 1 h 862390"/>
              <a:gd name="connsiteX57" fmla="*/ 1066568 w 6471498"/>
              <a:gd name="connsiteY57" fmla="*/ 1 h 862390"/>
              <a:gd name="connsiteX58" fmla="*/ 1066567 w 6471498"/>
              <a:gd name="connsiteY58" fmla="*/ 1 h 862390"/>
              <a:gd name="connsiteX59" fmla="*/ 858337 w 6471498"/>
              <a:gd name="connsiteY59" fmla="*/ 1 h 862390"/>
              <a:gd name="connsiteX60" fmla="*/ 650107 w 6471498"/>
              <a:gd name="connsiteY60" fmla="*/ 1 h 862390"/>
              <a:gd name="connsiteX61" fmla="*/ 1078171 w 6471498"/>
              <a:gd name="connsiteY61" fmla="*/ 862390 h 862390"/>
              <a:gd name="connsiteX62" fmla="*/ 428065 w 6471498"/>
              <a:gd name="connsiteY62" fmla="*/ 862390 h 862390"/>
              <a:gd name="connsiteX63" fmla="*/ 0 w 6471498"/>
              <a:gd name="connsiteY63" fmla="*/ 0 h 862390"/>
              <a:gd name="connsiteX0" fmla="*/ 0 w 6408112"/>
              <a:gd name="connsiteY0" fmla="*/ 0 h 862390"/>
              <a:gd name="connsiteX1" fmla="*/ 208230 w 6408112"/>
              <a:gd name="connsiteY1" fmla="*/ 0 h 862390"/>
              <a:gd name="connsiteX2" fmla="*/ 416460 w 6408112"/>
              <a:gd name="connsiteY2" fmla="*/ 0 h 862390"/>
              <a:gd name="connsiteX3" fmla="*/ 416461 w 6408112"/>
              <a:gd name="connsiteY3" fmla="*/ 0 h 862390"/>
              <a:gd name="connsiteX4" fmla="*/ 651850 w 6408112"/>
              <a:gd name="connsiteY4" fmla="*/ 0 h 862390"/>
              <a:gd name="connsiteX5" fmla="*/ 860080 w 6408112"/>
              <a:gd name="connsiteY5" fmla="*/ 0 h 862390"/>
              <a:gd name="connsiteX6" fmla="*/ 1068310 w 6408112"/>
              <a:gd name="connsiteY6" fmla="*/ 0 h 862390"/>
              <a:gd name="connsiteX7" fmla="*/ 1303700 w 6408112"/>
              <a:gd name="connsiteY7" fmla="*/ 0 h 862390"/>
              <a:gd name="connsiteX8" fmla="*/ 1520983 w 6408112"/>
              <a:gd name="connsiteY8" fmla="*/ 0 h 862390"/>
              <a:gd name="connsiteX9" fmla="*/ 1729213 w 6408112"/>
              <a:gd name="connsiteY9" fmla="*/ 0 h 862390"/>
              <a:gd name="connsiteX10" fmla="*/ 1964603 w 6408112"/>
              <a:gd name="connsiteY10" fmla="*/ 0 h 862390"/>
              <a:gd name="connsiteX11" fmla="*/ 2199993 w 6408112"/>
              <a:gd name="connsiteY11" fmla="*/ 0 h 862390"/>
              <a:gd name="connsiteX12" fmla="*/ 2408223 w 6408112"/>
              <a:gd name="connsiteY12" fmla="*/ 0 h 862390"/>
              <a:gd name="connsiteX13" fmla="*/ 2643613 w 6408112"/>
              <a:gd name="connsiteY13" fmla="*/ 0 h 862390"/>
              <a:gd name="connsiteX14" fmla="*/ 2824681 w 6408112"/>
              <a:gd name="connsiteY14" fmla="*/ 0 h 862390"/>
              <a:gd name="connsiteX15" fmla="*/ 3032911 w 6408112"/>
              <a:gd name="connsiteY15" fmla="*/ 0 h 862390"/>
              <a:gd name="connsiteX16" fmla="*/ 3241141 w 6408112"/>
              <a:gd name="connsiteY16" fmla="*/ 0 h 862390"/>
              <a:gd name="connsiteX17" fmla="*/ 3476531 w 6408112"/>
              <a:gd name="connsiteY17" fmla="*/ 0 h 862390"/>
              <a:gd name="connsiteX18" fmla="*/ 3684761 w 6408112"/>
              <a:gd name="connsiteY18" fmla="*/ 0 h 862390"/>
              <a:gd name="connsiteX19" fmla="*/ 3892991 w 6408112"/>
              <a:gd name="connsiteY19" fmla="*/ 0 h 862390"/>
              <a:gd name="connsiteX20" fmla="*/ 4128381 w 6408112"/>
              <a:gd name="connsiteY20" fmla="*/ 0 h 862390"/>
              <a:gd name="connsiteX21" fmla="*/ 4345664 w 6408112"/>
              <a:gd name="connsiteY21" fmla="*/ 0 h 862390"/>
              <a:gd name="connsiteX22" fmla="*/ 4553894 w 6408112"/>
              <a:gd name="connsiteY22" fmla="*/ 0 h 862390"/>
              <a:gd name="connsiteX23" fmla="*/ 4789284 w 6408112"/>
              <a:gd name="connsiteY23" fmla="*/ 0 h 862390"/>
              <a:gd name="connsiteX24" fmla="*/ 5024674 w 6408112"/>
              <a:gd name="connsiteY24" fmla="*/ 0 h 862390"/>
              <a:gd name="connsiteX25" fmla="*/ 5232904 w 6408112"/>
              <a:gd name="connsiteY25" fmla="*/ 0 h 862390"/>
              <a:gd name="connsiteX26" fmla="*/ 5468294 w 6408112"/>
              <a:gd name="connsiteY26" fmla="*/ 0 h 862390"/>
              <a:gd name="connsiteX27" fmla="*/ 5549775 w 6408112"/>
              <a:gd name="connsiteY27" fmla="*/ 0 h 862390"/>
              <a:gd name="connsiteX28" fmla="*/ 5758005 w 6408112"/>
              <a:gd name="connsiteY28" fmla="*/ 0 h 862390"/>
              <a:gd name="connsiteX29" fmla="*/ 5993395 w 6408112"/>
              <a:gd name="connsiteY29" fmla="*/ 0 h 862390"/>
              <a:gd name="connsiteX30" fmla="*/ 6228785 w 6408112"/>
              <a:gd name="connsiteY30" fmla="*/ 0 h 862390"/>
              <a:gd name="connsiteX31" fmla="*/ 6408112 w 6408112"/>
              <a:gd name="connsiteY31" fmla="*/ 1 h 862390"/>
              <a:gd name="connsiteX32" fmla="*/ 6199882 w 6408112"/>
              <a:gd name="connsiteY32" fmla="*/ 1 h 862390"/>
              <a:gd name="connsiteX33" fmla="*/ 6118401 w 6408112"/>
              <a:gd name="connsiteY33" fmla="*/ 1 h 862390"/>
              <a:gd name="connsiteX34" fmla="*/ 5883011 w 6408112"/>
              <a:gd name="connsiteY34" fmla="*/ 1 h 862390"/>
              <a:gd name="connsiteX35" fmla="*/ 5674781 w 6408112"/>
              <a:gd name="connsiteY35" fmla="*/ 1 h 862390"/>
              <a:gd name="connsiteX36" fmla="*/ 5439391 w 6408112"/>
              <a:gd name="connsiteY36" fmla="*/ 1 h 862390"/>
              <a:gd name="connsiteX37" fmla="*/ 5204001 w 6408112"/>
              <a:gd name="connsiteY37" fmla="*/ 1 h 862390"/>
              <a:gd name="connsiteX38" fmla="*/ 4995771 w 6408112"/>
              <a:gd name="connsiteY38" fmla="*/ 1 h 862390"/>
              <a:gd name="connsiteX39" fmla="*/ 4778488 w 6408112"/>
              <a:gd name="connsiteY39" fmla="*/ 1 h 862390"/>
              <a:gd name="connsiteX40" fmla="*/ 4543098 w 6408112"/>
              <a:gd name="connsiteY40" fmla="*/ 1 h 862390"/>
              <a:gd name="connsiteX41" fmla="*/ 4334868 w 6408112"/>
              <a:gd name="connsiteY41" fmla="*/ 1 h 862390"/>
              <a:gd name="connsiteX42" fmla="*/ 4126638 w 6408112"/>
              <a:gd name="connsiteY42" fmla="*/ 1 h 862390"/>
              <a:gd name="connsiteX43" fmla="*/ 3891248 w 6408112"/>
              <a:gd name="connsiteY43" fmla="*/ 1 h 862390"/>
              <a:gd name="connsiteX44" fmla="*/ 3683018 w 6408112"/>
              <a:gd name="connsiteY44" fmla="*/ 1 h 862390"/>
              <a:gd name="connsiteX45" fmla="*/ 3474788 w 6408112"/>
              <a:gd name="connsiteY45" fmla="*/ 1 h 862390"/>
              <a:gd name="connsiteX46" fmla="*/ 3293720 w 6408112"/>
              <a:gd name="connsiteY46" fmla="*/ 1 h 862390"/>
              <a:gd name="connsiteX47" fmla="*/ 3058330 w 6408112"/>
              <a:gd name="connsiteY47" fmla="*/ 1 h 862390"/>
              <a:gd name="connsiteX48" fmla="*/ 2850100 w 6408112"/>
              <a:gd name="connsiteY48" fmla="*/ 1 h 862390"/>
              <a:gd name="connsiteX49" fmla="*/ 2614710 w 6408112"/>
              <a:gd name="connsiteY49" fmla="*/ 1 h 862390"/>
              <a:gd name="connsiteX50" fmla="*/ 2379320 w 6408112"/>
              <a:gd name="connsiteY50" fmla="*/ 1 h 862390"/>
              <a:gd name="connsiteX51" fmla="*/ 2171090 w 6408112"/>
              <a:gd name="connsiteY51" fmla="*/ 1 h 862390"/>
              <a:gd name="connsiteX52" fmla="*/ 1953807 w 6408112"/>
              <a:gd name="connsiteY52" fmla="*/ 1 h 862390"/>
              <a:gd name="connsiteX53" fmla="*/ 1718417 w 6408112"/>
              <a:gd name="connsiteY53" fmla="*/ 1 h 862390"/>
              <a:gd name="connsiteX54" fmla="*/ 1510187 w 6408112"/>
              <a:gd name="connsiteY54" fmla="*/ 1 h 862390"/>
              <a:gd name="connsiteX55" fmla="*/ 1301957 w 6408112"/>
              <a:gd name="connsiteY55" fmla="*/ 1 h 862390"/>
              <a:gd name="connsiteX56" fmla="*/ 1066568 w 6408112"/>
              <a:gd name="connsiteY56" fmla="*/ 1 h 862390"/>
              <a:gd name="connsiteX57" fmla="*/ 1066567 w 6408112"/>
              <a:gd name="connsiteY57" fmla="*/ 1 h 862390"/>
              <a:gd name="connsiteX58" fmla="*/ 858337 w 6408112"/>
              <a:gd name="connsiteY58" fmla="*/ 1 h 862390"/>
              <a:gd name="connsiteX59" fmla="*/ 650107 w 6408112"/>
              <a:gd name="connsiteY59" fmla="*/ 1 h 862390"/>
              <a:gd name="connsiteX60" fmla="*/ 1078171 w 6408112"/>
              <a:gd name="connsiteY60" fmla="*/ 862390 h 862390"/>
              <a:gd name="connsiteX61" fmla="*/ 428065 w 6408112"/>
              <a:gd name="connsiteY61" fmla="*/ 862390 h 862390"/>
              <a:gd name="connsiteX62" fmla="*/ 0 w 6408112"/>
              <a:gd name="connsiteY62" fmla="*/ 0 h 862390"/>
              <a:gd name="connsiteX0" fmla="*/ 0 w 6228785"/>
              <a:gd name="connsiteY0" fmla="*/ 0 h 862390"/>
              <a:gd name="connsiteX1" fmla="*/ 208230 w 6228785"/>
              <a:gd name="connsiteY1" fmla="*/ 0 h 862390"/>
              <a:gd name="connsiteX2" fmla="*/ 416460 w 6228785"/>
              <a:gd name="connsiteY2" fmla="*/ 0 h 862390"/>
              <a:gd name="connsiteX3" fmla="*/ 416461 w 6228785"/>
              <a:gd name="connsiteY3" fmla="*/ 0 h 862390"/>
              <a:gd name="connsiteX4" fmla="*/ 651850 w 6228785"/>
              <a:gd name="connsiteY4" fmla="*/ 0 h 862390"/>
              <a:gd name="connsiteX5" fmla="*/ 860080 w 6228785"/>
              <a:gd name="connsiteY5" fmla="*/ 0 h 862390"/>
              <a:gd name="connsiteX6" fmla="*/ 1068310 w 6228785"/>
              <a:gd name="connsiteY6" fmla="*/ 0 h 862390"/>
              <a:gd name="connsiteX7" fmla="*/ 1303700 w 6228785"/>
              <a:gd name="connsiteY7" fmla="*/ 0 h 862390"/>
              <a:gd name="connsiteX8" fmla="*/ 1520983 w 6228785"/>
              <a:gd name="connsiteY8" fmla="*/ 0 h 862390"/>
              <a:gd name="connsiteX9" fmla="*/ 1729213 w 6228785"/>
              <a:gd name="connsiteY9" fmla="*/ 0 h 862390"/>
              <a:gd name="connsiteX10" fmla="*/ 1964603 w 6228785"/>
              <a:gd name="connsiteY10" fmla="*/ 0 h 862390"/>
              <a:gd name="connsiteX11" fmla="*/ 2199993 w 6228785"/>
              <a:gd name="connsiteY11" fmla="*/ 0 h 862390"/>
              <a:gd name="connsiteX12" fmla="*/ 2408223 w 6228785"/>
              <a:gd name="connsiteY12" fmla="*/ 0 h 862390"/>
              <a:gd name="connsiteX13" fmla="*/ 2643613 w 6228785"/>
              <a:gd name="connsiteY13" fmla="*/ 0 h 862390"/>
              <a:gd name="connsiteX14" fmla="*/ 2824681 w 6228785"/>
              <a:gd name="connsiteY14" fmla="*/ 0 h 862390"/>
              <a:gd name="connsiteX15" fmla="*/ 3032911 w 6228785"/>
              <a:gd name="connsiteY15" fmla="*/ 0 h 862390"/>
              <a:gd name="connsiteX16" fmla="*/ 3241141 w 6228785"/>
              <a:gd name="connsiteY16" fmla="*/ 0 h 862390"/>
              <a:gd name="connsiteX17" fmla="*/ 3476531 w 6228785"/>
              <a:gd name="connsiteY17" fmla="*/ 0 h 862390"/>
              <a:gd name="connsiteX18" fmla="*/ 3684761 w 6228785"/>
              <a:gd name="connsiteY18" fmla="*/ 0 h 862390"/>
              <a:gd name="connsiteX19" fmla="*/ 3892991 w 6228785"/>
              <a:gd name="connsiteY19" fmla="*/ 0 h 862390"/>
              <a:gd name="connsiteX20" fmla="*/ 4128381 w 6228785"/>
              <a:gd name="connsiteY20" fmla="*/ 0 h 862390"/>
              <a:gd name="connsiteX21" fmla="*/ 4345664 w 6228785"/>
              <a:gd name="connsiteY21" fmla="*/ 0 h 862390"/>
              <a:gd name="connsiteX22" fmla="*/ 4553894 w 6228785"/>
              <a:gd name="connsiteY22" fmla="*/ 0 h 862390"/>
              <a:gd name="connsiteX23" fmla="*/ 4789284 w 6228785"/>
              <a:gd name="connsiteY23" fmla="*/ 0 h 862390"/>
              <a:gd name="connsiteX24" fmla="*/ 5024674 w 6228785"/>
              <a:gd name="connsiteY24" fmla="*/ 0 h 862390"/>
              <a:gd name="connsiteX25" fmla="*/ 5232904 w 6228785"/>
              <a:gd name="connsiteY25" fmla="*/ 0 h 862390"/>
              <a:gd name="connsiteX26" fmla="*/ 5468294 w 6228785"/>
              <a:gd name="connsiteY26" fmla="*/ 0 h 862390"/>
              <a:gd name="connsiteX27" fmla="*/ 5549775 w 6228785"/>
              <a:gd name="connsiteY27" fmla="*/ 0 h 862390"/>
              <a:gd name="connsiteX28" fmla="*/ 5758005 w 6228785"/>
              <a:gd name="connsiteY28" fmla="*/ 0 h 862390"/>
              <a:gd name="connsiteX29" fmla="*/ 5993395 w 6228785"/>
              <a:gd name="connsiteY29" fmla="*/ 0 h 862390"/>
              <a:gd name="connsiteX30" fmla="*/ 6228785 w 6228785"/>
              <a:gd name="connsiteY30" fmla="*/ 0 h 862390"/>
              <a:gd name="connsiteX31" fmla="*/ 6199882 w 6228785"/>
              <a:gd name="connsiteY31" fmla="*/ 1 h 862390"/>
              <a:gd name="connsiteX32" fmla="*/ 6118401 w 6228785"/>
              <a:gd name="connsiteY32" fmla="*/ 1 h 862390"/>
              <a:gd name="connsiteX33" fmla="*/ 5883011 w 6228785"/>
              <a:gd name="connsiteY33" fmla="*/ 1 h 862390"/>
              <a:gd name="connsiteX34" fmla="*/ 5674781 w 6228785"/>
              <a:gd name="connsiteY34" fmla="*/ 1 h 862390"/>
              <a:gd name="connsiteX35" fmla="*/ 5439391 w 6228785"/>
              <a:gd name="connsiteY35" fmla="*/ 1 h 862390"/>
              <a:gd name="connsiteX36" fmla="*/ 5204001 w 6228785"/>
              <a:gd name="connsiteY36" fmla="*/ 1 h 862390"/>
              <a:gd name="connsiteX37" fmla="*/ 4995771 w 6228785"/>
              <a:gd name="connsiteY37" fmla="*/ 1 h 862390"/>
              <a:gd name="connsiteX38" fmla="*/ 4778488 w 6228785"/>
              <a:gd name="connsiteY38" fmla="*/ 1 h 862390"/>
              <a:gd name="connsiteX39" fmla="*/ 4543098 w 6228785"/>
              <a:gd name="connsiteY39" fmla="*/ 1 h 862390"/>
              <a:gd name="connsiteX40" fmla="*/ 4334868 w 6228785"/>
              <a:gd name="connsiteY40" fmla="*/ 1 h 862390"/>
              <a:gd name="connsiteX41" fmla="*/ 4126638 w 6228785"/>
              <a:gd name="connsiteY41" fmla="*/ 1 h 862390"/>
              <a:gd name="connsiteX42" fmla="*/ 3891248 w 6228785"/>
              <a:gd name="connsiteY42" fmla="*/ 1 h 862390"/>
              <a:gd name="connsiteX43" fmla="*/ 3683018 w 6228785"/>
              <a:gd name="connsiteY43" fmla="*/ 1 h 862390"/>
              <a:gd name="connsiteX44" fmla="*/ 3474788 w 6228785"/>
              <a:gd name="connsiteY44" fmla="*/ 1 h 862390"/>
              <a:gd name="connsiteX45" fmla="*/ 3293720 w 6228785"/>
              <a:gd name="connsiteY45" fmla="*/ 1 h 862390"/>
              <a:gd name="connsiteX46" fmla="*/ 3058330 w 6228785"/>
              <a:gd name="connsiteY46" fmla="*/ 1 h 862390"/>
              <a:gd name="connsiteX47" fmla="*/ 2850100 w 6228785"/>
              <a:gd name="connsiteY47" fmla="*/ 1 h 862390"/>
              <a:gd name="connsiteX48" fmla="*/ 2614710 w 6228785"/>
              <a:gd name="connsiteY48" fmla="*/ 1 h 862390"/>
              <a:gd name="connsiteX49" fmla="*/ 2379320 w 6228785"/>
              <a:gd name="connsiteY49" fmla="*/ 1 h 862390"/>
              <a:gd name="connsiteX50" fmla="*/ 2171090 w 6228785"/>
              <a:gd name="connsiteY50" fmla="*/ 1 h 862390"/>
              <a:gd name="connsiteX51" fmla="*/ 1953807 w 6228785"/>
              <a:gd name="connsiteY51" fmla="*/ 1 h 862390"/>
              <a:gd name="connsiteX52" fmla="*/ 1718417 w 6228785"/>
              <a:gd name="connsiteY52" fmla="*/ 1 h 862390"/>
              <a:gd name="connsiteX53" fmla="*/ 1510187 w 6228785"/>
              <a:gd name="connsiteY53" fmla="*/ 1 h 862390"/>
              <a:gd name="connsiteX54" fmla="*/ 1301957 w 6228785"/>
              <a:gd name="connsiteY54" fmla="*/ 1 h 862390"/>
              <a:gd name="connsiteX55" fmla="*/ 1066568 w 6228785"/>
              <a:gd name="connsiteY55" fmla="*/ 1 h 862390"/>
              <a:gd name="connsiteX56" fmla="*/ 1066567 w 6228785"/>
              <a:gd name="connsiteY56" fmla="*/ 1 h 862390"/>
              <a:gd name="connsiteX57" fmla="*/ 858337 w 6228785"/>
              <a:gd name="connsiteY57" fmla="*/ 1 h 862390"/>
              <a:gd name="connsiteX58" fmla="*/ 650107 w 6228785"/>
              <a:gd name="connsiteY58" fmla="*/ 1 h 862390"/>
              <a:gd name="connsiteX59" fmla="*/ 1078171 w 6228785"/>
              <a:gd name="connsiteY59" fmla="*/ 862390 h 862390"/>
              <a:gd name="connsiteX60" fmla="*/ 428065 w 6228785"/>
              <a:gd name="connsiteY60" fmla="*/ 862390 h 862390"/>
              <a:gd name="connsiteX61" fmla="*/ 0 w 6228785"/>
              <a:gd name="connsiteY61" fmla="*/ 0 h 862390"/>
              <a:gd name="connsiteX0" fmla="*/ 0 w 6199882"/>
              <a:gd name="connsiteY0" fmla="*/ 0 h 862390"/>
              <a:gd name="connsiteX1" fmla="*/ 208230 w 6199882"/>
              <a:gd name="connsiteY1" fmla="*/ 0 h 862390"/>
              <a:gd name="connsiteX2" fmla="*/ 416460 w 6199882"/>
              <a:gd name="connsiteY2" fmla="*/ 0 h 862390"/>
              <a:gd name="connsiteX3" fmla="*/ 416461 w 6199882"/>
              <a:gd name="connsiteY3" fmla="*/ 0 h 862390"/>
              <a:gd name="connsiteX4" fmla="*/ 651850 w 6199882"/>
              <a:gd name="connsiteY4" fmla="*/ 0 h 862390"/>
              <a:gd name="connsiteX5" fmla="*/ 860080 w 6199882"/>
              <a:gd name="connsiteY5" fmla="*/ 0 h 862390"/>
              <a:gd name="connsiteX6" fmla="*/ 1068310 w 6199882"/>
              <a:gd name="connsiteY6" fmla="*/ 0 h 862390"/>
              <a:gd name="connsiteX7" fmla="*/ 1303700 w 6199882"/>
              <a:gd name="connsiteY7" fmla="*/ 0 h 862390"/>
              <a:gd name="connsiteX8" fmla="*/ 1520983 w 6199882"/>
              <a:gd name="connsiteY8" fmla="*/ 0 h 862390"/>
              <a:gd name="connsiteX9" fmla="*/ 1729213 w 6199882"/>
              <a:gd name="connsiteY9" fmla="*/ 0 h 862390"/>
              <a:gd name="connsiteX10" fmla="*/ 1964603 w 6199882"/>
              <a:gd name="connsiteY10" fmla="*/ 0 h 862390"/>
              <a:gd name="connsiteX11" fmla="*/ 2199993 w 6199882"/>
              <a:gd name="connsiteY11" fmla="*/ 0 h 862390"/>
              <a:gd name="connsiteX12" fmla="*/ 2408223 w 6199882"/>
              <a:gd name="connsiteY12" fmla="*/ 0 h 862390"/>
              <a:gd name="connsiteX13" fmla="*/ 2643613 w 6199882"/>
              <a:gd name="connsiteY13" fmla="*/ 0 h 862390"/>
              <a:gd name="connsiteX14" fmla="*/ 2824681 w 6199882"/>
              <a:gd name="connsiteY14" fmla="*/ 0 h 862390"/>
              <a:gd name="connsiteX15" fmla="*/ 3032911 w 6199882"/>
              <a:gd name="connsiteY15" fmla="*/ 0 h 862390"/>
              <a:gd name="connsiteX16" fmla="*/ 3241141 w 6199882"/>
              <a:gd name="connsiteY16" fmla="*/ 0 h 862390"/>
              <a:gd name="connsiteX17" fmla="*/ 3476531 w 6199882"/>
              <a:gd name="connsiteY17" fmla="*/ 0 h 862390"/>
              <a:gd name="connsiteX18" fmla="*/ 3684761 w 6199882"/>
              <a:gd name="connsiteY18" fmla="*/ 0 h 862390"/>
              <a:gd name="connsiteX19" fmla="*/ 3892991 w 6199882"/>
              <a:gd name="connsiteY19" fmla="*/ 0 h 862390"/>
              <a:gd name="connsiteX20" fmla="*/ 4128381 w 6199882"/>
              <a:gd name="connsiteY20" fmla="*/ 0 h 862390"/>
              <a:gd name="connsiteX21" fmla="*/ 4345664 w 6199882"/>
              <a:gd name="connsiteY21" fmla="*/ 0 h 862390"/>
              <a:gd name="connsiteX22" fmla="*/ 4553894 w 6199882"/>
              <a:gd name="connsiteY22" fmla="*/ 0 h 862390"/>
              <a:gd name="connsiteX23" fmla="*/ 4789284 w 6199882"/>
              <a:gd name="connsiteY23" fmla="*/ 0 h 862390"/>
              <a:gd name="connsiteX24" fmla="*/ 5024674 w 6199882"/>
              <a:gd name="connsiteY24" fmla="*/ 0 h 862390"/>
              <a:gd name="connsiteX25" fmla="*/ 5232904 w 6199882"/>
              <a:gd name="connsiteY25" fmla="*/ 0 h 862390"/>
              <a:gd name="connsiteX26" fmla="*/ 5468294 w 6199882"/>
              <a:gd name="connsiteY26" fmla="*/ 0 h 862390"/>
              <a:gd name="connsiteX27" fmla="*/ 5549775 w 6199882"/>
              <a:gd name="connsiteY27" fmla="*/ 0 h 862390"/>
              <a:gd name="connsiteX28" fmla="*/ 5758005 w 6199882"/>
              <a:gd name="connsiteY28" fmla="*/ 0 h 862390"/>
              <a:gd name="connsiteX29" fmla="*/ 5993395 w 6199882"/>
              <a:gd name="connsiteY29" fmla="*/ 0 h 862390"/>
              <a:gd name="connsiteX30" fmla="*/ 6199882 w 6199882"/>
              <a:gd name="connsiteY30" fmla="*/ 1 h 862390"/>
              <a:gd name="connsiteX31" fmla="*/ 6118401 w 6199882"/>
              <a:gd name="connsiteY31" fmla="*/ 1 h 862390"/>
              <a:gd name="connsiteX32" fmla="*/ 5883011 w 6199882"/>
              <a:gd name="connsiteY32" fmla="*/ 1 h 862390"/>
              <a:gd name="connsiteX33" fmla="*/ 5674781 w 6199882"/>
              <a:gd name="connsiteY33" fmla="*/ 1 h 862390"/>
              <a:gd name="connsiteX34" fmla="*/ 5439391 w 6199882"/>
              <a:gd name="connsiteY34" fmla="*/ 1 h 862390"/>
              <a:gd name="connsiteX35" fmla="*/ 5204001 w 6199882"/>
              <a:gd name="connsiteY35" fmla="*/ 1 h 862390"/>
              <a:gd name="connsiteX36" fmla="*/ 4995771 w 6199882"/>
              <a:gd name="connsiteY36" fmla="*/ 1 h 862390"/>
              <a:gd name="connsiteX37" fmla="*/ 4778488 w 6199882"/>
              <a:gd name="connsiteY37" fmla="*/ 1 h 862390"/>
              <a:gd name="connsiteX38" fmla="*/ 4543098 w 6199882"/>
              <a:gd name="connsiteY38" fmla="*/ 1 h 862390"/>
              <a:gd name="connsiteX39" fmla="*/ 4334868 w 6199882"/>
              <a:gd name="connsiteY39" fmla="*/ 1 h 862390"/>
              <a:gd name="connsiteX40" fmla="*/ 4126638 w 6199882"/>
              <a:gd name="connsiteY40" fmla="*/ 1 h 862390"/>
              <a:gd name="connsiteX41" fmla="*/ 3891248 w 6199882"/>
              <a:gd name="connsiteY41" fmla="*/ 1 h 862390"/>
              <a:gd name="connsiteX42" fmla="*/ 3683018 w 6199882"/>
              <a:gd name="connsiteY42" fmla="*/ 1 h 862390"/>
              <a:gd name="connsiteX43" fmla="*/ 3474788 w 6199882"/>
              <a:gd name="connsiteY43" fmla="*/ 1 h 862390"/>
              <a:gd name="connsiteX44" fmla="*/ 3293720 w 6199882"/>
              <a:gd name="connsiteY44" fmla="*/ 1 h 862390"/>
              <a:gd name="connsiteX45" fmla="*/ 3058330 w 6199882"/>
              <a:gd name="connsiteY45" fmla="*/ 1 h 862390"/>
              <a:gd name="connsiteX46" fmla="*/ 2850100 w 6199882"/>
              <a:gd name="connsiteY46" fmla="*/ 1 h 862390"/>
              <a:gd name="connsiteX47" fmla="*/ 2614710 w 6199882"/>
              <a:gd name="connsiteY47" fmla="*/ 1 h 862390"/>
              <a:gd name="connsiteX48" fmla="*/ 2379320 w 6199882"/>
              <a:gd name="connsiteY48" fmla="*/ 1 h 862390"/>
              <a:gd name="connsiteX49" fmla="*/ 2171090 w 6199882"/>
              <a:gd name="connsiteY49" fmla="*/ 1 h 862390"/>
              <a:gd name="connsiteX50" fmla="*/ 1953807 w 6199882"/>
              <a:gd name="connsiteY50" fmla="*/ 1 h 862390"/>
              <a:gd name="connsiteX51" fmla="*/ 1718417 w 6199882"/>
              <a:gd name="connsiteY51" fmla="*/ 1 h 862390"/>
              <a:gd name="connsiteX52" fmla="*/ 1510187 w 6199882"/>
              <a:gd name="connsiteY52" fmla="*/ 1 h 862390"/>
              <a:gd name="connsiteX53" fmla="*/ 1301957 w 6199882"/>
              <a:gd name="connsiteY53" fmla="*/ 1 h 862390"/>
              <a:gd name="connsiteX54" fmla="*/ 1066568 w 6199882"/>
              <a:gd name="connsiteY54" fmla="*/ 1 h 862390"/>
              <a:gd name="connsiteX55" fmla="*/ 1066567 w 6199882"/>
              <a:gd name="connsiteY55" fmla="*/ 1 h 862390"/>
              <a:gd name="connsiteX56" fmla="*/ 858337 w 6199882"/>
              <a:gd name="connsiteY56" fmla="*/ 1 h 862390"/>
              <a:gd name="connsiteX57" fmla="*/ 650107 w 6199882"/>
              <a:gd name="connsiteY57" fmla="*/ 1 h 862390"/>
              <a:gd name="connsiteX58" fmla="*/ 1078171 w 6199882"/>
              <a:gd name="connsiteY58" fmla="*/ 862390 h 862390"/>
              <a:gd name="connsiteX59" fmla="*/ 428065 w 6199882"/>
              <a:gd name="connsiteY59" fmla="*/ 862390 h 862390"/>
              <a:gd name="connsiteX60" fmla="*/ 0 w 6199882"/>
              <a:gd name="connsiteY60" fmla="*/ 0 h 862390"/>
              <a:gd name="connsiteX0" fmla="*/ 0 w 6118401"/>
              <a:gd name="connsiteY0" fmla="*/ 0 h 862390"/>
              <a:gd name="connsiteX1" fmla="*/ 208230 w 6118401"/>
              <a:gd name="connsiteY1" fmla="*/ 0 h 862390"/>
              <a:gd name="connsiteX2" fmla="*/ 416460 w 6118401"/>
              <a:gd name="connsiteY2" fmla="*/ 0 h 862390"/>
              <a:gd name="connsiteX3" fmla="*/ 416461 w 6118401"/>
              <a:gd name="connsiteY3" fmla="*/ 0 h 862390"/>
              <a:gd name="connsiteX4" fmla="*/ 651850 w 6118401"/>
              <a:gd name="connsiteY4" fmla="*/ 0 h 862390"/>
              <a:gd name="connsiteX5" fmla="*/ 860080 w 6118401"/>
              <a:gd name="connsiteY5" fmla="*/ 0 h 862390"/>
              <a:gd name="connsiteX6" fmla="*/ 1068310 w 6118401"/>
              <a:gd name="connsiteY6" fmla="*/ 0 h 862390"/>
              <a:gd name="connsiteX7" fmla="*/ 1303700 w 6118401"/>
              <a:gd name="connsiteY7" fmla="*/ 0 h 862390"/>
              <a:gd name="connsiteX8" fmla="*/ 1520983 w 6118401"/>
              <a:gd name="connsiteY8" fmla="*/ 0 h 862390"/>
              <a:gd name="connsiteX9" fmla="*/ 1729213 w 6118401"/>
              <a:gd name="connsiteY9" fmla="*/ 0 h 862390"/>
              <a:gd name="connsiteX10" fmla="*/ 1964603 w 6118401"/>
              <a:gd name="connsiteY10" fmla="*/ 0 h 862390"/>
              <a:gd name="connsiteX11" fmla="*/ 2199993 w 6118401"/>
              <a:gd name="connsiteY11" fmla="*/ 0 h 862390"/>
              <a:gd name="connsiteX12" fmla="*/ 2408223 w 6118401"/>
              <a:gd name="connsiteY12" fmla="*/ 0 h 862390"/>
              <a:gd name="connsiteX13" fmla="*/ 2643613 w 6118401"/>
              <a:gd name="connsiteY13" fmla="*/ 0 h 862390"/>
              <a:gd name="connsiteX14" fmla="*/ 2824681 w 6118401"/>
              <a:gd name="connsiteY14" fmla="*/ 0 h 862390"/>
              <a:gd name="connsiteX15" fmla="*/ 3032911 w 6118401"/>
              <a:gd name="connsiteY15" fmla="*/ 0 h 862390"/>
              <a:gd name="connsiteX16" fmla="*/ 3241141 w 6118401"/>
              <a:gd name="connsiteY16" fmla="*/ 0 h 862390"/>
              <a:gd name="connsiteX17" fmla="*/ 3476531 w 6118401"/>
              <a:gd name="connsiteY17" fmla="*/ 0 h 862390"/>
              <a:gd name="connsiteX18" fmla="*/ 3684761 w 6118401"/>
              <a:gd name="connsiteY18" fmla="*/ 0 h 862390"/>
              <a:gd name="connsiteX19" fmla="*/ 3892991 w 6118401"/>
              <a:gd name="connsiteY19" fmla="*/ 0 h 862390"/>
              <a:gd name="connsiteX20" fmla="*/ 4128381 w 6118401"/>
              <a:gd name="connsiteY20" fmla="*/ 0 h 862390"/>
              <a:gd name="connsiteX21" fmla="*/ 4345664 w 6118401"/>
              <a:gd name="connsiteY21" fmla="*/ 0 h 862390"/>
              <a:gd name="connsiteX22" fmla="*/ 4553894 w 6118401"/>
              <a:gd name="connsiteY22" fmla="*/ 0 h 862390"/>
              <a:gd name="connsiteX23" fmla="*/ 4789284 w 6118401"/>
              <a:gd name="connsiteY23" fmla="*/ 0 h 862390"/>
              <a:gd name="connsiteX24" fmla="*/ 5024674 w 6118401"/>
              <a:gd name="connsiteY24" fmla="*/ 0 h 862390"/>
              <a:gd name="connsiteX25" fmla="*/ 5232904 w 6118401"/>
              <a:gd name="connsiteY25" fmla="*/ 0 h 862390"/>
              <a:gd name="connsiteX26" fmla="*/ 5468294 w 6118401"/>
              <a:gd name="connsiteY26" fmla="*/ 0 h 862390"/>
              <a:gd name="connsiteX27" fmla="*/ 5549775 w 6118401"/>
              <a:gd name="connsiteY27" fmla="*/ 0 h 862390"/>
              <a:gd name="connsiteX28" fmla="*/ 5758005 w 6118401"/>
              <a:gd name="connsiteY28" fmla="*/ 0 h 862390"/>
              <a:gd name="connsiteX29" fmla="*/ 5993395 w 6118401"/>
              <a:gd name="connsiteY29" fmla="*/ 0 h 862390"/>
              <a:gd name="connsiteX30" fmla="*/ 6118401 w 6118401"/>
              <a:gd name="connsiteY30" fmla="*/ 1 h 862390"/>
              <a:gd name="connsiteX31" fmla="*/ 5883011 w 6118401"/>
              <a:gd name="connsiteY31" fmla="*/ 1 h 862390"/>
              <a:gd name="connsiteX32" fmla="*/ 5674781 w 6118401"/>
              <a:gd name="connsiteY32" fmla="*/ 1 h 862390"/>
              <a:gd name="connsiteX33" fmla="*/ 5439391 w 6118401"/>
              <a:gd name="connsiteY33" fmla="*/ 1 h 862390"/>
              <a:gd name="connsiteX34" fmla="*/ 5204001 w 6118401"/>
              <a:gd name="connsiteY34" fmla="*/ 1 h 862390"/>
              <a:gd name="connsiteX35" fmla="*/ 4995771 w 6118401"/>
              <a:gd name="connsiteY35" fmla="*/ 1 h 862390"/>
              <a:gd name="connsiteX36" fmla="*/ 4778488 w 6118401"/>
              <a:gd name="connsiteY36" fmla="*/ 1 h 862390"/>
              <a:gd name="connsiteX37" fmla="*/ 4543098 w 6118401"/>
              <a:gd name="connsiteY37" fmla="*/ 1 h 862390"/>
              <a:gd name="connsiteX38" fmla="*/ 4334868 w 6118401"/>
              <a:gd name="connsiteY38" fmla="*/ 1 h 862390"/>
              <a:gd name="connsiteX39" fmla="*/ 4126638 w 6118401"/>
              <a:gd name="connsiteY39" fmla="*/ 1 h 862390"/>
              <a:gd name="connsiteX40" fmla="*/ 3891248 w 6118401"/>
              <a:gd name="connsiteY40" fmla="*/ 1 h 862390"/>
              <a:gd name="connsiteX41" fmla="*/ 3683018 w 6118401"/>
              <a:gd name="connsiteY41" fmla="*/ 1 h 862390"/>
              <a:gd name="connsiteX42" fmla="*/ 3474788 w 6118401"/>
              <a:gd name="connsiteY42" fmla="*/ 1 h 862390"/>
              <a:gd name="connsiteX43" fmla="*/ 3293720 w 6118401"/>
              <a:gd name="connsiteY43" fmla="*/ 1 h 862390"/>
              <a:gd name="connsiteX44" fmla="*/ 3058330 w 6118401"/>
              <a:gd name="connsiteY44" fmla="*/ 1 h 862390"/>
              <a:gd name="connsiteX45" fmla="*/ 2850100 w 6118401"/>
              <a:gd name="connsiteY45" fmla="*/ 1 h 862390"/>
              <a:gd name="connsiteX46" fmla="*/ 2614710 w 6118401"/>
              <a:gd name="connsiteY46" fmla="*/ 1 h 862390"/>
              <a:gd name="connsiteX47" fmla="*/ 2379320 w 6118401"/>
              <a:gd name="connsiteY47" fmla="*/ 1 h 862390"/>
              <a:gd name="connsiteX48" fmla="*/ 2171090 w 6118401"/>
              <a:gd name="connsiteY48" fmla="*/ 1 h 862390"/>
              <a:gd name="connsiteX49" fmla="*/ 1953807 w 6118401"/>
              <a:gd name="connsiteY49" fmla="*/ 1 h 862390"/>
              <a:gd name="connsiteX50" fmla="*/ 1718417 w 6118401"/>
              <a:gd name="connsiteY50" fmla="*/ 1 h 862390"/>
              <a:gd name="connsiteX51" fmla="*/ 1510187 w 6118401"/>
              <a:gd name="connsiteY51" fmla="*/ 1 h 862390"/>
              <a:gd name="connsiteX52" fmla="*/ 1301957 w 6118401"/>
              <a:gd name="connsiteY52" fmla="*/ 1 h 862390"/>
              <a:gd name="connsiteX53" fmla="*/ 1066568 w 6118401"/>
              <a:gd name="connsiteY53" fmla="*/ 1 h 862390"/>
              <a:gd name="connsiteX54" fmla="*/ 1066567 w 6118401"/>
              <a:gd name="connsiteY54" fmla="*/ 1 h 862390"/>
              <a:gd name="connsiteX55" fmla="*/ 858337 w 6118401"/>
              <a:gd name="connsiteY55" fmla="*/ 1 h 862390"/>
              <a:gd name="connsiteX56" fmla="*/ 650107 w 6118401"/>
              <a:gd name="connsiteY56" fmla="*/ 1 h 862390"/>
              <a:gd name="connsiteX57" fmla="*/ 1078171 w 6118401"/>
              <a:gd name="connsiteY57" fmla="*/ 862390 h 862390"/>
              <a:gd name="connsiteX58" fmla="*/ 428065 w 6118401"/>
              <a:gd name="connsiteY58" fmla="*/ 862390 h 862390"/>
              <a:gd name="connsiteX59" fmla="*/ 0 w 6118401"/>
              <a:gd name="connsiteY59" fmla="*/ 0 h 862390"/>
              <a:gd name="connsiteX0" fmla="*/ 0 w 5993395"/>
              <a:gd name="connsiteY0" fmla="*/ 0 h 862390"/>
              <a:gd name="connsiteX1" fmla="*/ 208230 w 5993395"/>
              <a:gd name="connsiteY1" fmla="*/ 0 h 862390"/>
              <a:gd name="connsiteX2" fmla="*/ 416460 w 5993395"/>
              <a:gd name="connsiteY2" fmla="*/ 0 h 862390"/>
              <a:gd name="connsiteX3" fmla="*/ 416461 w 5993395"/>
              <a:gd name="connsiteY3" fmla="*/ 0 h 862390"/>
              <a:gd name="connsiteX4" fmla="*/ 651850 w 5993395"/>
              <a:gd name="connsiteY4" fmla="*/ 0 h 862390"/>
              <a:gd name="connsiteX5" fmla="*/ 860080 w 5993395"/>
              <a:gd name="connsiteY5" fmla="*/ 0 h 862390"/>
              <a:gd name="connsiteX6" fmla="*/ 1068310 w 5993395"/>
              <a:gd name="connsiteY6" fmla="*/ 0 h 862390"/>
              <a:gd name="connsiteX7" fmla="*/ 1303700 w 5993395"/>
              <a:gd name="connsiteY7" fmla="*/ 0 h 862390"/>
              <a:gd name="connsiteX8" fmla="*/ 1520983 w 5993395"/>
              <a:gd name="connsiteY8" fmla="*/ 0 h 862390"/>
              <a:gd name="connsiteX9" fmla="*/ 1729213 w 5993395"/>
              <a:gd name="connsiteY9" fmla="*/ 0 h 862390"/>
              <a:gd name="connsiteX10" fmla="*/ 1964603 w 5993395"/>
              <a:gd name="connsiteY10" fmla="*/ 0 h 862390"/>
              <a:gd name="connsiteX11" fmla="*/ 2199993 w 5993395"/>
              <a:gd name="connsiteY11" fmla="*/ 0 h 862390"/>
              <a:gd name="connsiteX12" fmla="*/ 2408223 w 5993395"/>
              <a:gd name="connsiteY12" fmla="*/ 0 h 862390"/>
              <a:gd name="connsiteX13" fmla="*/ 2643613 w 5993395"/>
              <a:gd name="connsiteY13" fmla="*/ 0 h 862390"/>
              <a:gd name="connsiteX14" fmla="*/ 2824681 w 5993395"/>
              <a:gd name="connsiteY14" fmla="*/ 0 h 862390"/>
              <a:gd name="connsiteX15" fmla="*/ 3032911 w 5993395"/>
              <a:gd name="connsiteY15" fmla="*/ 0 h 862390"/>
              <a:gd name="connsiteX16" fmla="*/ 3241141 w 5993395"/>
              <a:gd name="connsiteY16" fmla="*/ 0 h 862390"/>
              <a:gd name="connsiteX17" fmla="*/ 3476531 w 5993395"/>
              <a:gd name="connsiteY17" fmla="*/ 0 h 862390"/>
              <a:gd name="connsiteX18" fmla="*/ 3684761 w 5993395"/>
              <a:gd name="connsiteY18" fmla="*/ 0 h 862390"/>
              <a:gd name="connsiteX19" fmla="*/ 3892991 w 5993395"/>
              <a:gd name="connsiteY19" fmla="*/ 0 h 862390"/>
              <a:gd name="connsiteX20" fmla="*/ 4128381 w 5993395"/>
              <a:gd name="connsiteY20" fmla="*/ 0 h 862390"/>
              <a:gd name="connsiteX21" fmla="*/ 4345664 w 5993395"/>
              <a:gd name="connsiteY21" fmla="*/ 0 h 862390"/>
              <a:gd name="connsiteX22" fmla="*/ 4553894 w 5993395"/>
              <a:gd name="connsiteY22" fmla="*/ 0 h 862390"/>
              <a:gd name="connsiteX23" fmla="*/ 4789284 w 5993395"/>
              <a:gd name="connsiteY23" fmla="*/ 0 h 862390"/>
              <a:gd name="connsiteX24" fmla="*/ 5024674 w 5993395"/>
              <a:gd name="connsiteY24" fmla="*/ 0 h 862390"/>
              <a:gd name="connsiteX25" fmla="*/ 5232904 w 5993395"/>
              <a:gd name="connsiteY25" fmla="*/ 0 h 862390"/>
              <a:gd name="connsiteX26" fmla="*/ 5468294 w 5993395"/>
              <a:gd name="connsiteY26" fmla="*/ 0 h 862390"/>
              <a:gd name="connsiteX27" fmla="*/ 5549775 w 5993395"/>
              <a:gd name="connsiteY27" fmla="*/ 0 h 862390"/>
              <a:gd name="connsiteX28" fmla="*/ 5758005 w 5993395"/>
              <a:gd name="connsiteY28" fmla="*/ 0 h 862390"/>
              <a:gd name="connsiteX29" fmla="*/ 5993395 w 5993395"/>
              <a:gd name="connsiteY29" fmla="*/ 0 h 862390"/>
              <a:gd name="connsiteX30" fmla="*/ 5883011 w 5993395"/>
              <a:gd name="connsiteY30" fmla="*/ 1 h 862390"/>
              <a:gd name="connsiteX31" fmla="*/ 5674781 w 5993395"/>
              <a:gd name="connsiteY31" fmla="*/ 1 h 862390"/>
              <a:gd name="connsiteX32" fmla="*/ 5439391 w 5993395"/>
              <a:gd name="connsiteY32" fmla="*/ 1 h 862390"/>
              <a:gd name="connsiteX33" fmla="*/ 5204001 w 5993395"/>
              <a:gd name="connsiteY33" fmla="*/ 1 h 862390"/>
              <a:gd name="connsiteX34" fmla="*/ 4995771 w 5993395"/>
              <a:gd name="connsiteY34" fmla="*/ 1 h 862390"/>
              <a:gd name="connsiteX35" fmla="*/ 4778488 w 5993395"/>
              <a:gd name="connsiteY35" fmla="*/ 1 h 862390"/>
              <a:gd name="connsiteX36" fmla="*/ 4543098 w 5993395"/>
              <a:gd name="connsiteY36" fmla="*/ 1 h 862390"/>
              <a:gd name="connsiteX37" fmla="*/ 4334868 w 5993395"/>
              <a:gd name="connsiteY37" fmla="*/ 1 h 862390"/>
              <a:gd name="connsiteX38" fmla="*/ 4126638 w 5993395"/>
              <a:gd name="connsiteY38" fmla="*/ 1 h 862390"/>
              <a:gd name="connsiteX39" fmla="*/ 3891248 w 5993395"/>
              <a:gd name="connsiteY39" fmla="*/ 1 h 862390"/>
              <a:gd name="connsiteX40" fmla="*/ 3683018 w 5993395"/>
              <a:gd name="connsiteY40" fmla="*/ 1 h 862390"/>
              <a:gd name="connsiteX41" fmla="*/ 3474788 w 5993395"/>
              <a:gd name="connsiteY41" fmla="*/ 1 h 862390"/>
              <a:gd name="connsiteX42" fmla="*/ 3293720 w 5993395"/>
              <a:gd name="connsiteY42" fmla="*/ 1 h 862390"/>
              <a:gd name="connsiteX43" fmla="*/ 3058330 w 5993395"/>
              <a:gd name="connsiteY43" fmla="*/ 1 h 862390"/>
              <a:gd name="connsiteX44" fmla="*/ 2850100 w 5993395"/>
              <a:gd name="connsiteY44" fmla="*/ 1 h 862390"/>
              <a:gd name="connsiteX45" fmla="*/ 2614710 w 5993395"/>
              <a:gd name="connsiteY45" fmla="*/ 1 h 862390"/>
              <a:gd name="connsiteX46" fmla="*/ 2379320 w 5993395"/>
              <a:gd name="connsiteY46" fmla="*/ 1 h 862390"/>
              <a:gd name="connsiteX47" fmla="*/ 2171090 w 5993395"/>
              <a:gd name="connsiteY47" fmla="*/ 1 h 862390"/>
              <a:gd name="connsiteX48" fmla="*/ 1953807 w 5993395"/>
              <a:gd name="connsiteY48" fmla="*/ 1 h 862390"/>
              <a:gd name="connsiteX49" fmla="*/ 1718417 w 5993395"/>
              <a:gd name="connsiteY49" fmla="*/ 1 h 862390"/>
              <a:gd name="connsiteX50" fmla="*/ 1510187 w 5993395"/>
              <a:gd name="connsiteY50" fmla="*/ 1 h 862390"/>
              <a:gd name="connsiteX51" fmla="*/ 1301957 w 5993395"/>
              <a:gd name="connsiteY51" fmla="*/ 1 h 862390"/>
              <a:gd name="connsiteX52" fmla="*/ 1066568 w 5993395"/>
              <a:gd name="connsiteY52" fmla="*/ 1 h 862390"/>
              <a:gd name="connsiteX53" fmla="*/ 1066567 w 5993395"/>
              <a:gd name="connsiteY53" fmla="*/ 1 h 862390"/>
              <a:gd name="connsiteX54" fmla="*/ 858337 w 5993395"/>
              <a:gd name="connsiteY54" fmla="*/ 1 h 862390"/>
              <a:gd name="connsiteX55" fmla="*/ 650107 w 5993395"/>
              <a:gd name="connsiteY55" fmla="*/ 1 h 862390"/>
              <a:gd name="connsiteX56" fmla="*/ 1078171 w 5993395"/>
              <a:gd name="connsiteY56" fmla="*/ 862390 h 862390"/>
              <a:gd name="connsiteX57" fmla="*/ 428065 w 5993395"/>
              <a:gd name="connsiteY57" fmla="*/ 862390 h 862390"/>
              <a:gd name="connsiteX58" fmla="*/ 0 w 5993395"/>
              <a:gd name="connsiteY58" fmla="*/ 0 h 862390"/>
              <a:gd name="connsiteX0" fmla="*/ 0 w 5883011"/>
              <a:gd name="connsiteY0" fmla="*/ 0 h 862390"/>
              <a:gd name="connsiteX1" fmla="*/ 208230 w 5883011"/>
              <a:gd name="connsiteY1" fmla="*/ 0 h 862390"/>
              <a:gd name="connsiteX2" fmla="*/ 416460 w 5883011"/>
              <a:gd name="connsiteY2" fmla="*/ 0 h 862390"/>
              <a:gd name="connsiteX3" fmla="*/ 416461 w 5883011"/>
              <a:gd name="connsiteY3" fmla="*/ 0 h 862390"/>
              <a:gd name="connsiteX4" fmla="*/ 651850 w 5883011"/>
              <a:gd name="connsiteY4" fmla="*/ 0 h 862390"/>
              <a:gd name="connsiteX5" fmla="*/ 860080 w 5883011"/>
              <a:gd name="connsiteY5" fmla="*/ 0 h 862390"/>
              <a:gd name="connsiteX6" fmla="*/ 1068310 w 5883011"/>
              <a:gd name="connsiteY6" fmla="*/ 0 h 862390"/>
              <a:gd name="connsiteX7" fmla="*/ 1303700 w 5883011"/>
              <a:gd name="connsiteY7" fmla="*/ 0 h 862390"/>
              <a:gd name="connsiteX8" fmla="*/ 1520983 w 5883011"/>
              <a:gd name="connsiteY8" fmla="*/ 0 h 862390"/>
              <a:gd name="connsiteX9" fmla="*/ 1729213 w 5883011"/>
              <a:gd name="connsiteY9" fmla="*/ 0 h 862390"/>
              <a:gd name="connsiteX10" fmla="*/ 1964603 w 5883011"/>
              <a:gd name="connsiteY10" fmla="*/ 0 h 862390"/>
              <a:gd name="connsiteX11" fmla="*/ 2199993 w 5883011"/>
              <a:gd name="connsiteY11" fmla="*/ 0 h 862390"/>
              <a:gd name="connsiteX12" fmla="*/ 2408223 w 5883011"/>
              <a:gd name="connsiteY12" fmla="*/ 0 h 862390"/>
              <a:gd name="connsiteX13" fmla="*/ 2643613 w 5883011"/>
              <a:gd name="connsiteY13" fmla="*/ 0 h 862390"/>
              <a:gd name="connsiteX14" fmla="*/ 2824681 w 5883011"/>
              <a:gd name="connsiteY14" fmla="*/ 0 h 862390"/>
              <a:gd name="connsiteX15" fmla="*/ 3032911 w 5883011"/>
              <a:gd name="connsiteY15" fmla="*/ 0 h 862390"/>
              <a:gd name="connsiteX16" fmla="*/ 3241141 w 5883011"/>
              <a:gd name="connsiteY16" fmla="*/ 0 h 862390"/>
              <a:gd name="connsiteX17" fmla="*/ 3476531 w 5883011"/>
              <a:gd name="connsiteY17" fmla="*/ 0 h 862390"/>
              <a:gd name="connsiteX18" fmla="*/ 3684761 w 5883011"/>
              <a:gd name="connsiteY18" fmla="*/ 0 h 862390"/>
              <a:gd name="connsiteX19" fmla="*/ 3892991 w 5883011"/>
              <a:gd name="connsiteY19" fmla="*/ 0 h 862390"/>
              <a:gd name="connsiteX20" fmla="*/ 4128381 w 5883011"/>
              <a:gd name="connsiteY20" fmla="*/ 0 h 862390"/>
              <a:gd name="connsiteX21" fmla="*/ 4345664 w 5883011"/>
              <a:gd name="connsiteY21" fmla="*/ 0 h 862390"/>
              <a:gd name="connsiteX22" fmla="*/ 4553894 w 5883011"/>
              <a:gd name="connsiteY22" fmla="*/ 0 h 862390"/>
              <a:gd name="connsiteX23" fmla="*/ 4789284 w 5883011"/>
              <a:gd name="connsiteY23" fmla="*/ 0 h 862390"/>
              <a:gd name="connsiteX24" fmla="*/ 5024674 w 5883011"/>
              <a:gd name="connsiteY24" fmla="*/ 0 h 862390"/>
              <a:gd name="connsiteX25" fmla="*/ 5232904 w 5883011"/>
              <a:gd name="connsiteY25" fmla="*/ 0 h 862390"/>
              <a:gd name="connsiteX26" fmla="*/ 5468294 w 5883011"/>
              <a:gd name="connsiteY26" fmla="*/ 0 h 862390"/>
              <a:gd name="connsiteX27" fmla="*/ 5549775 w 5883011"/>
              <a:gd name="connsiteY27" fmla="*/ 0 h 862390"/>
              <a:gd name="connsiteX28" fmla="*/ 5758005 w 5883011"/>
              <a:gd name="connsiteY28" fmla="*/ 0 h 862390"/>
              <a:gd name="connsiteX29" fmla="*/ 5883011 w 5883011"/>
              <a:gd name="connsiteY29" fmla="*/ 1 h 862390"/>
              <a:gd name="connsiteX30" fmla="*/ 5674781 w 5883011"/>
              <a:gd name="connsiteY30" fmla="*/ 1 h 862390"/>
              <a:gd name="connsiteX31" fmla="*/ 5439391 w 5883011"/>
              <a:gd name="connsiteY31" fmla="*/ 1 h 862390"/>
              <a:gd name="connsiteX32" fmla="*/ 5204001 w 5883011"/>
              <a:gd name="connsiteY32" fmla="*/ 1 h 862390"/>
              <a:gd name="connsiteX33" fmla="*/ 4995771 w 5883011"/>
              <a:gd name="connsiteY33" fmla="*/ 1 h 862390"/>
              <a:gd name="connsiteX34" fmla="*/ 4778488 w 5883011"/>
              <a:gd name="connsiteY34" fmla="*/ 1 h 862390"/>
              <a:gd name="connsiteX35" fmla="*/ 4543098 w 5883011"/>
              <a:gd name="connsiteY35" fmla="*/ 1 h 862390"/>
              <a:gd name="connsiteX36" fmla="*/ 4334868 w 5883011"/>
              <a:gd name="connsiteY36" fmla="*/ 1 h 862390"/>
              <a:gd name="connsiteX37" fmla="*/ 4126638 w 5883011"/>
              <a:gd name="connsiteY37" fmla="*/ 1 h 862390"/>
              <a:gd name="connsiteX38" fmla="*/ 3891248 w 5883011"/>
              <a:gd name="connsiteY38" fmla="*/ 1 h 862390"/>
              <a:gd name="connsiteX39" fmla="*/ 3683018 w 5883011"/>
              <a:gd name="connsiteY39" fmla="*/ 1 h 862390"/>
              <a:gd name="connsiteX40" fmla="*/ 3474788 w 5883011"/>
              <a:gd name="connsiteY40" fmla="*/ 1 h 862390"/>
              <a:gd name="connsiteX41" fmla="*/ 3293720 w 5883011"/>
              <a:gd name="connsiteY41" fmla="*/ 1 h 862390"/>
              <a:gd name="connsiteX42" fmla="*/ 3058330 w 5883011"/>
              <a:gd name="connsiteY42" fmla="*/ 1 h 862390"/>
              <a:gd name="connsiteX43" fmla="*/ 2850100 w 5883011"/>
              <a:gd name="connsiteY43" fmla="*/ 1 h 862390"/>
              <a:gd name="connsiteX44" fmla="*/ 2614710 w 5883011"/>
              <a:gd name="connsiteY44" fmla="*/ 1 h 862390"/>
              <a:gd name="connsiteX45" fmla="*/ 2379320 w 5883011"/>
              <a:gd name="connsiteY45" fmla="*/ 1 h 862390"/>
              <a:gd name="connsiteX46" fmla="*/ 2171090 w 5883011"/>
              <a:gd name="connsiteY46" fmla="*/ 1 h 862390"/>
              <a:gd name="connsiteX47" fmla="*/ 1953807 w 5883011"/>
              <a:gd name="connsiteY47" fmla="*/ 1 h 862390"/>
              <a:gd name="connsiteX48" fmla="*/ 1718417 w 5883011"/>
              <a:gd name="connsiteY48" fmla="*/ 1 h 862390"/>
              <a:gd name="connsiteX49" fmla="*/ 1510187 w 5883011"/>
              <a:gd name="connsiteY49" fmla="*/ 1 h 862390"/>
              <a:gd name="connsiteX50" fmla="*/ 1301957 w 5883011"/>
              <a:gd name="connsiteY50" fmla="*/ 1 h 862390"/>
              <a:gd name="connsiteX51" fmla="*/ 1066568 w 5883011"/>
              <a:gd name="connsiteY51" fmla="*/ 1 h 862390"/>
              <a:gd name="connsiteX52" fmla="*/ 1066567 w 5883011"/>
              <a:gd name="connsiteY52" fmla="*/ 1 h 862390"/>
              <a:gd name="connsiteX53" fmla="*/ 858337 w 5883011"/>
              <a:gd name="connsiteY53" fmla="*/ 1 h 862390"/>
              <a:gd name="connsiteX54" fmla="*/ 650107 w 5883011"/>
              <a:gd name="connsiteY54" fmla="*/ 1 h 862390"/>
              <a:gd name="connsiteX55" fmla="*/ 1078171 w 5883011"/>
              <a:gd name="connsiteY55" fmla="*/ 862390 h 862390"/>
              <a:gd name="connsiteX56" fmla="*/ 428065 w 5883011"/>
              <a:gd name="connsiteY56" fmla="*/ 862390 h 862390"/>
              <a:gd name="connsiteX57" fmla="*/ 0 w 5883011"/>
              <a:gd name="connsiteY57" fmla="*/ 0 h 862390"/>
              <a:gd name="connsiteX0" fmla="*/ 0 w 5758005"/>
              <a:gd name="connsiteY0" fmla="*/ 0 h 862390"/>
              <a:gd name="connsiteX1" fmla="*/ 208230 w 5758005"/>
              <a:gd name="connsiteY1" fmla="*/ 0 h 862390"/>
              <a:gd name="connsiteX2" fmla="*/ 416460 w 5758005"/>
              <a:gd name="connsiteY2" fmla="*/ 0 h 862390"/>
              <a:gd name="connsiteX3" fmla="*/ 416461 w 5758005"/>
              <a:gd name="connsiteY3" fmla="*/ 0 h 862390"/>
              <a:gd name="connsiteX4" fmla="*/ 651850 w 5758005"/>
              <a:gd name="connsiteY4" fmla="*/ 0 h 862390"/>
              <a:gd name="connsiteX5" fmla="*/ 860080 w 5758005"/>
              <a:gd name="connsiteY5" fmla="*/ 0 h 862390"/>
              <a:gd name="connsiteX6" fmla="*/ 1068310 w 5758005"/>
              <a:gd name="connsiteY6" fmla="*/ 0 h 862390"/>
              <a:gd name="connsiteX7" fmla="*/ 1303700 w 5758005"/>
              <a:gd name="connsiteY7" fmla="*/ 0 h 862390"/>
              <a:gd name="connsiteX8" fmla="*/ 1520983 w 5758005"/>
              <a:gd name="connsiteY8" fmla="*/ 0 h 862390"/>
              <a:gd name="connsiteX9" fmla="*/ 1729213 w 5758005"/>
              <a:gd name="connsiteY9" fmla="*/ 0 h 862390"/>
              <a:gd name="connsiteX10" fmla="*/ 1964603 w 5758005"/>
              <a:gd name="connsiteY10" fmla="*/ 0 h 862390"/>
              <a:gd name="connsiteX11" fmla="*/ 2199993 w 5758005"/>
              <a:gd name="connsiteY11" fmla="*/ 0 h 862390"/>
              <a:gd name="connsiteX12" fmla="*/ 2408223 w 5758005"/>
              <a:gd name="connsiteY12" fmla="*/ 0 h 862390"/>
              <a:gd name="connsiteX13" fmla="*/ 2643613 w 5758005"/>
              <a:gd name="connsiteY13" fmla="*/ 0 h 862390"/>
              <a:gd name="connsiteX14" fmla="*/ 2824681 w 5758005"/>
              <a:gd name="connsiteY14" fmla="*/ 0 h 862390"/>
              <a:gd name="connsiteX15" fmla="*/ 3032911 w 5758005"/>
              <a:gd name="connsiteY15" fmla="*/ 0 h 862390"/>
              <a:gd name="connsiteX16" fmla="*/ 3241141 w 5758005"/>
              <a:gd name="connsiteY16" fmla="*/ 0 h 862390"/>
              <a:gd name="connsiteX17" fmla="*/ 3476531 w 5758005"/>
              <a:gd name="connsiteY17" fmla="*/ 0 h 862390"/>
              <a:gd name="connsiteX18" fmla="*/ 3684761 w 5758005"/>
              <a:gd name="connsiteY18" fmla="*/ 0 h 862390"/>
              <a:gd name="connsiteX19" fmla="*/ 3892991 w 5758005"/>
              <a:gd name="connsiteY19" fmla="*/ 0 h 862390"/>
              <a:gd name="connsiteX20" fmla="*/ 4128381 w 5758005"/>
              <a:gd name="connsiteY20" fmla="*/ 0 h 862390"/>
              <a:gd name="connsiteX21" fmla="*/ 4345664 w 5758005"/>
              <a:gd name="connsiteY21" fmla="*/ 0 h 862390"/>
              <a:gd name="connsiteX22" fmla="*/ 4553894 w 5758005"/>
              <a:gd name="connsiteY22" fmla="*/ 0 h 862390"/>
              <a:gd name="connsiteX23" fmla="*/ 4789284 w 5758005"/>
              <a:gd name="connsiteY23" fmla="*/ 0 h 862390"/>
              <a:gd name="connsiteX24" fmla="*/ 5024674 w 5758005"/>
              <a:gd name="connsiteY24" fmla="*/ 0 h 862390"/>
              <a:gd name="connsiteX25" fmla="*/ 5232904 w 5758005"/>
              <a:gd name="connsiteY25" fmla="*/ 0 h 862390"/>
              <a:gd name="connsiteX26" fmla="*/ 5468294 w 5758005"/>
              <a:gd name="connsiteY26" fmla="*/ 0 h 862390"/>
              <a:gd name="connsiteX27" fmla="*/ 5549775 w 5758005"/>
              <a:gd name="connsiteY27" fmla="*/ 0 h 862390"/>
              <a:gd name="connsiteX28" fmla="*/ 5758005 w 5758005"/>
              <a:gd name="connsiteY28" fmla="*/ 0 h 862390"/>
              <a:gd name="connsiteX29" fmla="*/ 5674781 w 5758005"/>
              <a:gd name="connsiteY29" fmla="*/ 1 h 862390"/>
              <a:gd name="connsiteX30" fmla="*/ 5439391 w 5758005"/>
              <a:gd name="connsiteY30" fmla="*/ 1 h 862390"/>
              <a:gd name="connsiteX31" fmla="*/ 5204001 w 5758005"/>
              <a:gd name="connsiteY31" fmla="*/ 1 h 862390"/>
              <a:gd name="connsiteX32" fmla="*/ 4995771 w 5758005"/>
              <a:gd name="connsiteY32" fmla="*/ 1 h 862390"/>
              <a:gd name="connsiteX33" fmla="*/ 4778488 w 5758005"/>
              <a:gd name="connsiteY33" fmla="*/ 1 h 862390"/>
              <a:gd name="connsiteX34" fmla="*/ 4543098 w 5758005"/>
              <a:gd name="connsiteY34" fmla="*/ 1 h 862390"/>
              <a:gd name="connsiteX35" fmla="*/ 4334868 w 5758005"/>
              <a:gd name="connsiteY35" fmla="*/ 1 h 862390"/>
              <a:gd name="connsiteX36" fmla="*/ 4126638 w 5758005"/>
              <a:gd name="connsiteY36" fmla="*/ 1 h 862390"/>
              <a:gd name="connsiteX37" fmla="*/ 3891248 w 5758005"/>
              <a:gd name="connsiteY37" fmla="*/ 1 h 862390"/>
              <a:gd name="connsiteX38" fmla="*/ 3683018 w 5758005"/>
              <a:gd name="connsiteY38" fmla="*/ 1 h 862390"/>
              <a:gd name="connsiteX39" fmla="*/ 3474788 w 5758005"/>
              <a:gd name="connsiteY39" fmla="*/ 1 h 862390"/>
              <a:gd name="connsiteX40" fmla="*/ 3293720 w 5758005"/>
              <a:gd name="connsiteY40" fmla="*/ 1 h 862390"/>
              <a:gd name="connsiteX41" fmla="*/ 3058330 w 5758005"/>
              <a:gd name="connsiteY41" fmla="*/ 1 h 862390"/>
              <a:gd name="connsiteX42" fmla="*/ 2850100 w 5758005"/>
              <a:gd name="connsiteY42" fmla="*/ 1 h 862390"/>
              <a:gd name="connsiteX43" fmla="*/ 2614710 w 5758005"/>
              <a:gd name="connsiteY43" fmla="*/ 1 h 862390"/>
              <a:gd name="connsiteX44" fmla="*/ 2379320 w 5758005"/>
              <a:gd name="connsiteY44" fmla="*/ 1 h 862390"/>
              <a:gd name="connsiteX45" fmla="*/ 2171090 w 5758005"/>
              <a:gd name="connsiteY45" fmla="*/ 1 h 862390"/>
              <a:gd name="connsiteX46" fmla="*/ 1953807 w 5758005"/>
              <a:gd name="connsiteY46" fmla="*/ 1 h 862390"/>
              <a:gd name="connsiteX47" fmla="*/ 1718417 w 5758005"/>
              <a:gd name="connsiteY47" fmla="*/ 1 h 862390"/>
              <a:gd name="connsiteX48" fmla="*/ 1510187 w 5758005"/>
              <a:gd name="connsiteY48" fmla="*/ 1 h 862390"/>
              <a:gd name="connsiteX49" fmla="*/ 1301957 w 5758005"/>
              <a:gd name="connsiteY49" fmla="*/ 1 h 862390"/>
              <a:gd name="connsiteX50" fmla="*/ 1066568 w 5758005"/>
              <a:gd name="connsiteY50" fmla="*/ 1 h 862390"/>
              <a:gd name="connsiteX51" fmla="*/ 1066567 w 5758005"/>
              <a:gd name="connsiteY51" fmla="*/ 1 h 862390"/>
              <a:gd name="connsiteX52" fmla="*/ 858337 w 5758005"/>
              <a:gd name="connsiteY52" fmla="*/ 1 h 862390"/>
              <a:gd name="connsiteX53" fmla="*/ 650107 w 5758005"/>
              <a:gd name="connsiteY53" fmla="*/ 1 h 862390"/>
              <a:gd name="connsiteX54" fmla="*/ 1078171 w 5758005"/>
              <a:gd name="connsiteY54" fmla="*/ 862390 h 862390"/>
              <a:gd name="connsiteX55" fmla="*/ 428065 w 5758005"/>
              <a:gd name="connsiteY55" fmla="*/ 862390 h 862390"/>
              <a:gd name="connsiteX56" fmla="*/ 0 w 5758005"/>
              <a:gd name="connsiteY56" fmla="*/ 0 h 862390"/>
              <a:gd name="connsiteX0" fmla="*/ 0 w 5674781"/>
              <a:gd name="connsiteY0" fmla="*/ 0 h 862390"/>
              <a:gd name="connsiteX1" fmla="*/ 208230 w 5674781"/>
              <a:gd name="connsiteY1" fmla="*/ 0 h 862390"/>
              <a:gd name="connsiteX2" fmla="*/ 416460 w 5674781"/>
              <a:gd name="connsiteY2" fmla="*/ 0 h 862390"/>
              <a:gd name="connsiteX3" fmla="*/ 416461 w 5674781"/>
              <a:gd name="connsiteY3" fmla="*/ 0 h 862390"/>
              <a:gd name="connsiteX4" fmla="*/ 651850 w 5674781"/>
              <a:gd name="connsiteY4" fmla="*/ 0 h 862390"/>
              <a:gd name="connsiteX5" fmla="*/ 860080 w 5674781"/>
              <a:gd name="connsiteY5" fmla="*/ 0 h 862390"/>
              <a:gd name="connsiteX6" fmla="*/ 1068310 w 5674781"/>
              <a:gd name="connsiteY6" fmla="*/ 0 h 862390"/>
              <a:gd name="connsiteX7" fmla="*/ 1303700 w 5674781"/>
              <a:gd name="connsiteY7" fmla="*/ 0 h 862390"/>
              <a:gd name="connsiteX8" fmla="*/ 1520983 w 5674781"/>
              <a:gd name="connsiteY8" fmla="*/ 0 h 862390"/>
              <a:gd name="connsiteX9" fmla="*/ 1729213 w 5674781"/>
              <a:gd name="connsiteY9" fmla="*/ 0 h 862390"/>
              <a:gd name="connsiteX10" fmla="*/ 1964603 w 5674781"/>
              <a:gd name="connsiteY10" fmla="*/ 0 h 862390"/>
              <a:gd name="connsiteX11" fmla="*/ 2199993 w 5674781"/>
              <a:gd name="connsiteY11" fmla="*/ 0 h 862390"/>
              <a:gd name="connsiteX12" fmla="*/ 2408223 w 5674781"/>
              <a:gd name="connsiteY12" fmla="*/ 0 h 862390"/>
              <a:gd name="connsiteX13" fmla="*/ 2643613 w 5674781"/>
              <a:gd name="connsiteY13" fmla="*/ 0 h 862390"/>
              <a:gd name="connsiteX14" fmla="*/ 2824681 w 5674781"/>
              <a:gd name="connsiteY14" fmla="*/ 0 h 862390"/>
              <a:gd name="connsiteX15" fmla="*/ 3032911 w 5674781"/>
              <a:gd name="connsiteY15" fmla="*/ 0 h 862390"/>
              <a:gd name="connsiteX16" fmla="*/ 3241141 w 5674781"/>
              <a:gd name="connsiteY16" fmla="*/ 0 h 862390"/>
              <a:gd name="connsiteX17" fmla="*/ 3476531 w 5674781"/>
              <a:gd name="connsiteY17" fmla="*/ 0 h 862390"/>
              <a:gd name="connsiteX18" fmla="*/ 3684761 w 5674781"/>
              <a:gd name="connsiteY18" fmla="*/ 0 h 862390"/>
              <a:gd name="connsiteX19" fmla="*/ 3892991 w 5674781"/>
              <a:gd name="connsiteY19" fmla="*/ 0 h 862390"/>
              <a:gd name="connsiteX20" fmla="*/ 4128381 w 5674781"/>
              <a:gd name="connsiteY20" fmla="*/ 0 h 862390"/>
              <a:gd name="connsiteX21" fmla="*/ 4345664 w 5674781"/>
              <a:gd name="connsiteY21" fmla="*/ 0 h 862390"/>
              <a:gd name="connsiteX22" fmla="*/ 4553894 w 5674781"/>
              <a:gd name="connsiteY22" fmla="*/ 0 h 862390"/>
              <a:gd name="connsiteX23" fmla="*/ 4789284 w 5674781"/>
              <a:gd name="connsiteY23" fmla="*/ 0 h 862390"/>
              <a:gd name="connsiteX24" fmla="*/ 5024674 w 5674781"/>
              <a:gd name="connsiteY24" fmla="*/ 0 h 862390"/>
              <a:gd name="connsiteX25" fmla="*/ 5232904 w 5674781"/>
              <a:gd name="connsiteY25" fmla="*/ 0 h 862390"/>
              <a:gd name="connsiteX26" fmla="*/ 5468294 w 5674781"/>
              <a:gd name="connsiteY26" fmla="*/ 0 h 862390"/>
              <a:gd name="connsiteX27" fmla="*/ 5549775 w 5674781"/>
              <a:gd name="connsiteY27" fmla="*/ 0 h 862390"/>
              <a:gd name="connsiteX28" fmla="*/ 5674781 w 5674781"/>
              <a:gd name="connsiteY28" fmla="*/ 1 h 862390"/>
              <a:gd name="connsiteX29" fmla="*/ 5439391 w 5674781"/>
              <a:gd name="connsiteY29" fmla="*/ 1 h 862390"/>
              <a:gd name="connsiteX30" fmla="*/ 5204001 w 5674781"/>
              <a:gd name="connsiteY30" fmla="*/ 1 h 862390"/>
              <a:gd name="connsiteX31" fmla="*/ 4995771 w 5674781"/>
              <a:gd name="connsiteY31" fmla="*/ 1 h 862390"/>
              <a:gd name="connsiteX32" fmla="*/ 4778488 w 5674781"/>
              <a:gd name="connsiteY32" fmla="*/ 1 h 862390"/>
              <a:gd name="connsiteX33" fmla="*/ 4543098 w 5674781"/>
              <a:gd name="connsiteY33" fmla="*/ 1 h 862390"/>
              <a:gd name="connsiteX34" fmla="*/ 4334868 w 5674781"/>
              <a:gd name="connsiteY34" fmla="*/ 1 h 862390"/>
              <a:gd name="connsiteX35" fmla="*/ 4126638 w 5674781"/>
              <a:gd name="connsiteY35" fmla="*/ 1 h 862390"/>
              <a:gd name="connsiteX36" fmla="*/ 3891248 w 5674781"/>
              <a:gd name="connsiteY36" fmla="*/ 1 h 862390"/>
              <a:gd name="connsiteX37" fmla="*/ 3683018 w 5674781"/>
              <a:gd name="connsiteY37" fmla="*/ 1 h 862390"/>
              <a:gd name="connsiteX38" fmla="*/ 3474788 w 5674781"/>
              <a:gd name="connsiteY38" fmla="*/ 1 h 862390"/>
              <a:gd name="connsiteX39" fmla="*/ 3293720 w 5674781"/>
              <a:gd name="connsiteY39" fmla="*/ 1 h 862390"/>
              <a:gd name="connsiteX40" fmla="*/ 3058330 w 5674781"/>
              <a:gd name="connsiteY40" fmla="*/ 1 h 862390"/>
              <a:gd name="connsiteX41" fmla="*/ 2850100 w 5674781"/>
              <a:gd name="connsiteY41" fmla="*/ 1 h 862390"/>
              <a:gd name="connsiteX42" fmla="*/ 2614710 w 5674781"/>
              <a:gd name="connsiteY42" fmla="*/ 1 h 862390"/>
              <a:gd name="connsiteX43" fmla="*/ 2379320 w 5674781"/>
              <a:gd name="connsiteY43" fmla="*/ 1 h 862390"/>
              <a:gd name="connsiteX44" fmla="*/ 2171090 w 5674781"/>
              <a:gd name="connsiteY44" fmla="*/ 1 h 862390"/>
              <a:gd name="connsiteX45" fmla="*/ 1953807 w 5674781"/>
              <a:gd name="connsiteY45" fmla="*/ 1 h 862390"/>
              <a:gd name="connsiteX46" fmla="*/ 1718417 w 5674781"/>
              <a:gd name="connsiteY46" fmla="*/ 1 h 862390"/>
              <a:gd name="connsiteX47" fmla="*/ 1510187 w 5674781"/>
              <a:gd name="connsiteY47" fmla="*/ 1 h 862390"/>
              <a:gd name="connsiteX48" fmla="*/ 1301957 w 5674781"/>
              <a:gd name="connsiteY48" fmla="*/ 1 h 862390"/>
              <a:gd name="connsiteX49" fmla="*/ 1066568 w 5674781"/>
              <a:gd name="connsiteY49" fmla="*/ 1 h 862390"/>
              <a:gd name="connsiteX50" fmla="*/ 1066567 w 5674781"/>
              <a:gd name="connsiteY50" fmla="*/ 1 h 862390"/>
              <a:gd name="connsiteX51" fmla="*/ 858337 w 5674781"/>
              <a:gd name="connsiteY51" fmla="*/ 1 h 862390"/>
              <a:gd name="connsiteX52" fmla="*/ 650107 w 5674781"/>
              <a:gd name="connsiteY52" fmla="*/ 1 h 862390"/>
              <a:gd name="connsiteX53" fmla="*/ 1078171 w 5674781"/>
              <a:gd name="connsiteY53" fmla="*/ 862390 h 862390"/>
              <a:gd name="connsiteX54" fmla="*/ 428065 w 5674781"/>
              <a:gd name="connsiteY54" fmla="*/ 862390 h 862390"/>
              <a:gd name="connsiteX55" fmla="*/ 0 w 5674781"/>
              <a:gd name="connsiteY55" fmla="*/ 0 h 862390"/>
              <a:gd name="connsiteX0" fmla="*/ 0 w 5549775"/>
              <a:gd name="connsiteY0" fmla="*/ 0 h 862390"/>
              <a:gd name="connsiteX1" fmla="*/ 208230 w 5549775"/>
              <a:gd name="connsiteY1" fmla="*/ 0 h 862390"/>
              <a:gd name="connsiteX2" fmla="*/ 416460 w 5549775"/>
              <a:gd name="connsiteY2" fmla="*/ 0 h 862390"/>
              <a:gd name="connsiteX3" fmla="*/ 416461 w 5549775"/>
              <a:gd name="connsiteY3" fmla="*/ 0 h 862390"/>
              <a:gd name="connsiteX4" fmla="*/ 651850 w 5549775"/>
              <a:gd name="connsiteY4" fmla="*/ 0 h 862390"/>
              <a:gd name="connsiteX5" fmla="*/ 860080 w 5549775"/>
              <a:gd name="connsiteY5" fmla="*/ 0 h 862390"/>
              <a:gd name="connsiteX6" fmla="*/ 1068310 w 5549775"/>
              <a:gd name="connsiteY6" fmla="*/ 0 h 862390"/>
              <a:gd name="connsiteX7" fmla="*/ 1303700 w 5549775"/>
              <a:gd name="connsiteY7" fmla="*/ 0 h 862390"/>
              <a:gd name="connsiteX8" fmla="*/ 1520983 w 5549775"/>
              <a:gd name="connsiteY8" fmla="*/ 0 h 862390"/>
              <a:gd name="connsiteX9" fmla="*/ 1729213 w 5549775"/>
              <a:gd name="connsiteY9" fmla="*/ 0 h 862390"/>
              <a:gd name="connsiteX10" fmla="*/ 1964603 w 5549775"/>
              <a:gd name="connsiteY10" fmla="*/ 0 h 862390"/>
              <a:gd name="connsiteX11" fmla="*/ 2199993 w 5549775"/>
              <a:gd name="connsiteY11" fmla="*/ 0 h 862390"/>
              <a:gd name="connsiteX12" fmla="*/ 2408223 w 5549775"/>
              <a:gd name="connsiteY12" fmla="*/ 0 h 862390"/>
              <a:gd name="connsiteX13" fmla="*/ 2643613 w 5549775"/>
              <a:gd name="connsiteY13" fmla="*/ 0 h 862390"/>
              <a:gd name="connsiteX14" fmla="*/ 2824681 w 5549775"/>
              <a:gd name="connsiteY14" fmla="*/ 0 h 862390"/>
              <a:gd name="connsiteX15" fmla="*/ 3032911 w 5549775"/>
              <a:gd name="connsiteY15" fmla="*/ 0 h 862390"/>
              <a:gd name="connsiteX16" fmla="*/ 3241141 w 5549775"/>
              <a:gd name="connsiteY16" fmla="*/ 0 h 862390"/>
              <a:gd name="connsiteX17" fmla="*/ 3476531 w 5549775"/>
              <a:gd name="connsiteY17" fmla="*/ 0 h 862390"/>
              <a:gd name="connsiteX18" fmla="*/ 3684761 w 5549775"/>
              <a:gd name="connsiteY18" fmla="*/ 0 h 862390"/>
              <a:gd name="connsiteX19" fmla="*/ 3892991 w 5549775"/>
              <a:gd name="connsiteY19" fmla="*/ 0 h 862390"/>
              <a:gd name="connsiteX20" fmla="*/ 4128381 w 5549775"/>
              <a:gd name="connsiteY20" fmla="*/ 0 h 862390"/>
              <a:gd name="connsiteX21" fmla="*/ 4345664 w 5549775"/>
              <a:gd name="connsiteY21" fmla="*/ 0 h 862390"/>
              <a:gd name="connsiteX22" fmla="*/ 4553894 w 5549775"/>
              <a:gd name="connsiteY22" fmla="*/ 0 h 862390"/>
              <a:gd name="connsiteX23" fmla="*/ 4789284 w 5549775"/>
              <a:gd name="connsiteY23" fmla="*/ 0 h 862390"/>
              <a:gd name="connsiteX24" fmla="*/ 5024674 w 5549775"/>
              <a:gd name="connsiteY24" fmla="*/ 0 h 862390"/>
              <a:gd name="connsiteX25" fmla="*/ 5232904 w 5549775"/>
              <a:gd name="connsiteY25" fmla="*/ 0 h 862390"/>
              <a:gd name="connsiteX26" fmla="*/ 5468294 w 5549775"/>
              <a:gd name="connsiteY26" fmla="*/ 0 h 862390"/>
              <a:gd name="connsiteX27" fmla="*/ 5549775 w 5549775"/>
              <a:gd name="connsiteY27" fmla="*/ 0 h 862390"/>
              <a:gd name="connsiteX28" fmla="*/ 5439391 w 5549775"/>
              <a:gd name="connsiteY28" fmla="*/ 1 h 862390"/>
              <a:gd name="connsiteX29" fmla="*/ 5204001 w 5549775"/>
              <a:gd name="connsiteY29" fmla="*/ 1 h 862390"/>
              <a:gd name="connsiteX30" fmla="*/ 4995771 w 5549775"/>
              <a:gd name="connsiteY30" fmla="*/ 1 h 862390"/>
              <a:gd name="connsiteX31" fmla="*/ 4778488 w 5549775"/>
              <a:gd name="connsiteY31" fmla="*/ 1 h 862390"/>
              <a:gd name="connsiteX32" fmla="*/ 4543098 w 5549775"/>
              <a:gd name="connsiteY32" fmla="*/ 1 h 862390"/>
              <a:gd name="connsiteX33" fmla="*/ 4334868 w 5549775"/>
              <a:gd name="connsiteY33" fmla="*/ 1 h 862390"/>
              <a:gd name="connsiteX34" fmla="*/ 4126638 w 5549775"/>
              <a:gd name="connsiteY34" fmla="*/ 1 h 862390"/>
              <a:gd name="connsiteX35" fmla="*/ 3891248 w 5549775"/>
              <a:gd name="connsiteY35" fmla="*/ 1 h 862390"/>
              <a:gd name="connsiteX36" fmla="*/ 3683018 w 5549775"/>
              <a:gd name="connsiteY36" fmla="*/ 1 h 862390"/>
              <a:gd name="connsiteX37" fmla="*/ 3474788 w 5549775"/>
              <a:gd name="connsiteY37" fmla="*/ 1 h 862390"/>
              <a:gd name="connsiteX38" fmla="*/ 3293720 w 5549775"/>
              <a:gd name="connsiteY38" fmla="*/ 1 h 862390"/>
              <a:gd name="connsiteX39" fmla="*/ 3058330 w 5549775"/>
              <a:gd name="connsiteY39" fmla="*/ 1 h 862390"/>
              <a:gd name="connsiteX40" fmla="*/ 2850100 w 5549775"/>
              <a:gd name="connsiteY40" fmla="*/ 1 h 862390"/>
              <a:gd name="connsiteX41" fmla="*/ 2614710 w 5549775"/>
              <a:gd name="connsiteY41" fmla="*/ 1 h 862390"/>
              <a:gd name="connsiteX42" fmla="*/ 2379320 w 5549775"/>
              <a:gd name="connsiteY42" fmla="*/ 1 h 862390"/>
              <a:gd name="connsiteX43" fmla="*/ 2171090 w 5549775"/>
              <a:gd name="connsiteY43" fmla="*/ 1 h 862390"/>
              <a:gd name="connsiteX44" fmla="*/ 1953807 w 5549775"/>
              <a:gd name="connsiteY44" fmla="*/ 1 h 862390"/>
              <a:gd name="connsiteX45" fmla="*/ 1718417 w 5549775"/>
              <a:gd name="connsiteY45" fmla="*/ 1 h 862390"/>
              <a:gd name="connsiteX46" fmla="*/ 1510187 w 5549775"/>
              <a:gd name="connsiteY46" fmla="*/ 1 h 862390"/>
              <a:gd name="connsiteX47" fmla="*/ 1301957 w 5549775"/>
              <a:gd name="connsiteY47" fmla="*/ 1 h 862390"/>
              <a:gd name="connsiteX48" fmla="*/ 1066568 w 5549775"/>
              <a:gd name="connsiteY48" fmla="*/ 1 h 862390"/>
              <a:gd name="connsiteX49" fmla="*/ 1066567 w 5549775"/>
              <a:gd name="connsiteY49" fmla="*/ 1 h 862390"/>
              <a:gd name="connsiteX50" fmla="*/ 858337 w 5549775"/>
              <a:gd name="connsiteY50" fmla="*/ 1 h 862390"/>
              <a:gd name="connsiteX51" fmla="*/ 650107 w 5549775"/>
              <a:gd name="connsiteY51" fmla="*/ 1 h 862390"/>
              <a:gd name="connsiteX52" fmla="*/ 1078171 w 5549775"/>
              <a:gd name="connsiteY52" fmla="*/ 862390 h 862390"/>
              <a:gd name="connsiteX53" fmla="*/ 428065 w 5549775"/>
              <a:gd name="connsiteY53" fmla="*/ 862390 h 862390"/>
              <a:gd name="connsiteX54" fmla="*/ 0 w 5549775"/>
              <a:gd name="connsiteY54" fmla="*/ 0 h 862390"/>
              <a:gd name="connsiteX0" fmla="*/ 0 w 5468294"/>
              <a:gd name="connsiteY0" fmla="*/ 0 h 862390"/>
              <a:gd name="connsiteX1" fmla="*/ 208230 w 5468294"/>
              <a:gd name="connsiteY1" fmla="*/ 0 h 862390"/>
              <a:gd name="connsiteX2" fmla="*/ 416460 w 5468294"/>
              <a:gd name="connsiteY2" fmla="*/ 0 h 862390"/>
              <a:gd name="connsiteX3" fmla="*/ 416461 w 5468294"/>
              <a:gd name="connsiteY3" fmla="*/ 0 h 862390"/>
              <a:gd name="connsiteX4" fmla="*/ 651850 w 5468294"/>
              <a:gd name="connsiteY4" fmla="*/ 0 h 862390"/>
              <a:gd name="connsiteX5" fmla="*/ 860080 w 5468294"/>
              <a:gd name="connsiteY5" fmla="*/ 0 h 862390"/>
              <a:gd name="connsiteX6" fmla="*/ 1068310 w 5468294"/>
              <a:gd name="connsiteY6" fmla="*/ 0 h 862390"/>
              <a:gd name="connsiteX7" fmla="*/ 1303700 w 5468294"/>
              <a:gd name="connsiteY7" fmla="*/ 0 h 862390"/>
              <a:gd name="connsiteX8" fmla="*/ 1520983 w 5468294"/>
              <a:gd name="connsiteY8" fmla="*/ 0 h 862390"/>
              <a:gd name="connsiteX9" fmla="*/ 1729213 w 5468294"/>
              <a:gd name="connsiteY9" fmla="*/ 0 h 862390"/>
              <a:gd name="connsiteX10" fmla="*/ 1964603 w 5468294"/>
              <a:gd name="connsiteY10" fmla="*/ 0 h 862390"/>
              <a:gd name="connsiteX11" fmla="*/ 2199993 w 5468294"/>
              <a:gd name="connsiteY11" fmla="*/ 0 h 862390"/>
              <a:gd name="connsiteX12" fmla="*/ 2408223 w 5468294"/>
              <a:gd name="connsiteY12" fmla="*/ 0 h 862390"/>
              <a:gd name="connsiteX13" fmla="*/ 2643613 w 5468294"/>
              <a:gd name="connsiteY13" fmla="*/ 0 h 862390"/>
              <a:gd name="connsiteX14" fmla="*/ 2824681 w 5468294"/>
              <a:gd name="connsiteY14" fmla="*/ 0 h 862390"/>
              <a:gd name="connsiteX15" fmla="*/ 3032911 w 5468294"/>
              <a:gd name="connsiteY15" fmla="*/ 0 h 862390"/>
              <a:gd name="connsiteX16" fmla="*/ 3241141 w 5468294"/>
              <a:gd name="connsiteY16" fmla="*/ 0 h 862390"/>
              <a:gd name="connsiteX17" fmla="*/ 3476531 w 5468294"/>
              <a:gd name="connsiteY17" fmla="*/ 0 h 862390"/>
              <a:gd name="connsiteX18" fmla="*/ 3684761 w 5468294"/>
              <a:gd name="connsiteY18" fmla="*/ 0 h 862390"/>
              <a:gd name="connsiteX19" fmla="*/ 3892991 w 5468294"/>
              <a:gd name="connsiteY19" fmla="*/ 0 h 862390"/>
              <a:gd name="connsiteX20" fmla="*/ 4128381 w 5468294"/>
              <a:gd name="connsiteY20" fmla="*/ 0 h 862390"/>
              <a:gd name="connsiteX21" fmla="*/ 4345664 w 5468294"/>
              <a:gd name="connsiteY21" fmla="*/ 0 h 862390"/>
              <a:gd name="connsiteX22" fmla="*/ 4553894 w 5468294"/>
              <a:gd name="connsiteY22" fmla="*/ 0 h 862390"/>
              <a:gd name="connsiteX23" fmla="*/ 4789284 w 5468294"/>
              <a:gd name="connsiteY23" fmla="*/ 0 h 862390"/>
              <a:gd name="connsiteX24" fmla="*/ 5024674 w 5468294"/>
              <a:gd name="connsiteY24" fmla="*/ 0 h 862390"/>
              <a:gd name="connsiteX25" fmla="*/ 5232904 w 5468294"/>
              <a:gd name="connsiteY25" fmla="*/ 0 h 862390"/>
              <a:gd name="connsiteX26" fmla="*/ 5468294 w 5468294"/>
              <a:gd name="connsiteY26" fmla="*/ 0 h 862390"/>
              <a:gd name="connsiteX27" fmla="*/ 5439391 w 5468294"/>
              <a:gd name="connsiteY27" fmla="*/ 1 h 862390"/>
              <a:gd name="connsiteX28" fmla="*/ 5204001 w 5468294"/>
              <a:gd name="connsiteY28" fmla="*/ 1 h 862390"/>
              <a:gd name="connsiteX29" fmla="*/ 4995771 w 5468294"/>
              <a:gd name="connsiteY29" fmla="*/ 1 h 862390"/>
              <a:gd name="connsiteX30" fmla="*/ 4778488 w 5468294"/>
              <a:gd name="connsiteY30" fmla="*/ 1 h 862390"/>
              <a:gd name="connsiteX31" fmla="*/ 4543098 w 5468294"/>
              <a:gd name="connsiteY31" fmla="*/ 1 h 862390"/>
              <a:gd name="connsiteX32" fmla="*/ 4334868 w 5468294"/>
              <a:gd name="connsiteY32" fmla="*/ 1 h 862390"/>
              <a:gd name="connsiteX33" fmla="*/ 4126638 w 5468294"/>
              <a:gd name="connsiteY33" fmla="*/ 1 h 862390"/>
              <a:gd name="connsiteX34" fmla="*/ 3891248 w 5468294"/>
              <a:gd name="connsiteY34" fmla="*/ 1 h 862390"/>
              <a:gd name="connsiteX35" fmla="*/ 3683018 w 5468294"/>
              <a:gd name="connsiteY35" fmla="*/ 1 h 862390"/>
              <a:gd name="connsiteX36" fmla="*/ 3474788 w 5468294"/>
              <a:gd name="connsiteY36" fmla="*/ 1 h 862390"/>
              <a:gd name="connsiteX37" fmla="*/ 3293720 w 5468294"/>
              <a:gd name="connsiteY37" fmla="*/ 1 h 862390"/>
              <a:gd name="connsiteX38" fmla="*/ 3058330 w 5468294"/>
              <a:gd name="connsiteY38" fmla="*/ 1 h 862390"/>
              <a:gd name="connsiteX39" fmla="*/ 2850100 w 5468294"/>
              <a:gd name="connsiteY39" fmla="*/ 1 h 862390"/>
              <a:gd name="connsiteX40" fmla="*/ 2614710 w 5468294"/>
              <a:gd name="connsiteY40" fmla="*/ 1 h 862390"/>
              <a:gd name="connsiteX41" fmla="*/ 2379320 w 5468294"/>
              <a:gd name="connsiteY41" fmla="*/ 1 h 862390"/>
              <a:gd name="connsiteX42" fmla="*/ 2171090 w 5468294"/>
              <a:gd name="connsiteY42" fmla="*/ 1 h 862390"/>
              <a:gd name="connsiteX43" fmla="*/ 1953807 w 5468294"/>
              <a:gd name="connsiteY43" fmla="*/ 1 h 862390"/>
              <a:gd name="connsiteX44" fmla="*/ 1718417 w 5468294"/>
              <a:gd name="connsiteY44" fmla="*/ 1 h 862390"/>
              <a:gd name="connsiteX45" fmla="*/ 1510187 w 5468294"/>
              <a:gd name="connsiteY45" fmla="*/ 1 h 862390"/>
              <a:gd name="connsiteX46" fmla="*/ 1301957 w 5468294"/>
              <a:gd name="connsiteY46" fmla="*/ 1 h 862390"/>
              <a:gd name="connsiteX47" fmla="*/ 1066568 w 5468294"/>
              <a:gd name="connsiteY47" fmla="*/ 1 h 862390"/>
              <a:gd name="connsiteX48" fmla="*/ 1066567 w 5468294"/>
              <a:gd name="connsiteY48" fmla="*/ 1 h 862390"/>
              <a:gd name="connsiteX49" fmla="*/ 858337 w 5468294"/>
              <a:gd name="connsiteY49" fmla="*/ 1 h 862390"/>
              <a:gd name="connsiteX50" fmla="*/ 650107 w 5468294"/>
              <a:gd name="connsiteY50" fmla="*/ 1 h 862390"/>
              <a:gd name="connsiteX51" fmla="*/ 1078171 w 5468294"/>
              <a:gd name="connsiteY51" fmla="*/ 862390 h 862390"/>
              <a:gd name="connsiteX52" fmla="*/ 428065 w 5468294"/>
              <a:gd name="connsiteY52" fmla="*/ 862390 h 862390"/>
              <a:gd name="connsiteX53" fmla="*/ 0 w 5468294"/>
              <a:gd name="connsiteY53" fmla="*/ 0 h 862390"/>
              <a:gd name="connsiteX0" fmla="*/ 0 w 5468294"/>
              <a:gd name="connsiteY0" fmla="*/ 0 h 862390"/>
              <a:gd name="connsiteX1" fmla="*/ 208230 w 5468294"/>
              <a:gd name="connsiteY1" fmla="*/ 0 h 862390"/>
              <a:gd name="connsiteX2" fmla="*/ 416460 w 5468294"/>
              <a:gd name="connsiteY2" fmla="*/ 0 h 862390"/>
              <a:gd name="connsiteX3" fmla="*/ 416461 w 5468294"/>
              <a:gd name="connsiteY3" fmla="*/ 0 h 862390"/>
              <a:gd name="connsiteX4" fmla="*/ 651850 w 5468294"/>
              <a:gd name="connsiteY4" fmla="*/ 0 h 862390"/>
              <a:gd name="connsiteX5" fmla="*/ 860080 w 5468294"/>
              <a:gd name="connsiteY5" fmla="*/ 0 h 862390"/>
              <a:gd name="connsiteX6" fmla="*/ 1068310 w 5468294"/>
              <a:gd name="connsiteY6" fmla="*/ 0 h 862390"/>
              <a:gd name="connsiteX7" fmla="*/ 1303700 w 5468294"/>
              <a:gd name="connsiteY7" fmla="*/ 0 h 862390"/>
              <a:gd name="connsiteX8" fmla="*/ 1520983 w 5468294"/>
              <a:gd name="connsiteY8" fmla="*/ 0 h 862390"/>
              <a:gd name="connsiteX9" fmla="*/ 1729213 w 5468294"/>
              <a:gd name="connsiteY9" fmla="*/ 0 h 862390"/>
              <a:gd name="connsiteX10" fmla="*/ 1964603 w 5468294"/>
              <a:gd name="connsiteY10" fmla="*/ 0 h 862390"/>
              <a:gd name="connsiteX11" fmla="*/ 2199993 w 5468294"/>
              <a:gd name="connsiteY11" fmla="*/ 0 h 862390"/>
              <a:gd name="connsiteX12" fmla="*/ 2408223 w 5468294"/>
              <a:gd name="connsiteY12" fmla="*/ 0 h 862390"/>
              <a:gd name="connsiteX13" fmla="*/ 2643613 w 5468294"/>
              <a:gd name="connsiteY13" fmla="*/ 0 h 862390"/>
              <a:gd name="connsiteX14" fmla="*/ 2824681 w 5468294"/>
              <a:gd name="connsiteY14" fmla="*/ 0 h 862390"/>
              <a:gd name="connsiteX15" fmla="*/ 3032911 w 5468294"/>
              <a:gd name="connsiteY15" fmla="*/ 0 h 862390"/>
              <a:gd name="connsiteX16" fmla="*/ 3241141 w 5468294"/>
              <a:gd name="connsiteY16" fmla="*/ 0 h 862390"/>
              <a:gd name="connsiteX17" fmla="*/ 3476531 w 5468294"/>
              <a:gd name="connsiteY17" fmla="*/ 0 h 862390"/>
              <a:gd name="connsiteX18" fmla="*/ 3684761 w 5468294"/>
              <a:gd name="connsiteY18" fmla="*/ 0 h 862390"/>
              <a:gd name="connsiteX19" fmla="*/ 3892991 w 5468294"/>
              <a:gd name="connsiteY19" fmla="*/ 0 h 862390"/>
              <a:gd name="connsiteX20" fmla="*/ 4128381 w 5468294"/>
              <a:gd name="connsiteY20" fmla="*/ 0 h 862390"/>
              <a:gd name="connsiteX21" fmla="*/ 4345664 w 5468294"/>
              <a:gd name="connsiteY21" fmla="*/ 0 h 862390"/>
              <a:gd name="connsiteX22" fmla="*/ 4553894 w 5468294"/>
              <a:gd name="connsiteY22" fmla="*/ 0 h 862390"/>
              <a:gd name="connsiteX23" fmla="*/ 4789284 w 5468294"/>
              <a:gd name="connsiteY23" fmla="*/ 0 h 862390"/>
              <a:gd name="connsiteX24" fmla="*/ 5024674 w 5468294"/>
              <a:gd name="connsiteY24" fmla="*/ 0 h 862390"/>
              <a:gd name="connsiteX25" fmla="*/ 5232904 w 5468294"/>
              <a:gd name="connsiteY25" fmla="*/ 0 h 862390"/>
              <a:gd name="connsiteX26" fmla="*/ 5468294 w 5468294"/>
              <a:gd name="connsiteY26" fmla="*/ 0 h 862390"/>
              <a:gd name="connsiteX27" fmla="*/ 5204001 w 5468294"/>
              <a:gd name="connsiteY27" fmla="*/ 1 h 862390"/>
              <a:gd name="connsiteX28" fmla="*/ 4995771 w 5468294"/>
              <a:gd name="connsiteY28" fmla="*/ 1 h 862390"/>
              <a:gd name="connsiteX29" fmla="*/ 4778488 w 5468294"/>
              <a:gd name="connsiteY29" fmla="*/ 1 h 862390"/>
              <a:gd name="connsiteX30" fmla="*/ 4543098 w 5468294"/>
              <a:gd name="connsiteY30" fmla="*/ 1 h 862390"/>
              <a:gd name="connsiteX31" fmla="*/ 4334868 w 5468294"/>
              <a:gd name="connsiteY31" fmla="*/ 1 h 862390"/>
              <a:gd name="connsiteX32" fmla="*/ 4126638 w 5468294"/>
              <a:gd name="connsiteY32" fmla="*/ 1 h 862390"/>
              <a:gd name="connsiteX33" fmla="*/ 3891248 w 5468294"/>
              <a:gd name="connsiteY33" fmla="*/ 1 h 862390"/>
              <a:gd name="connsiteX34" fmla="*/ 3683018 w 5468294"/>
              <a:gd name="connsiteY34" fmla="*/ 1 h 862390"/>
              <a:gd name="connsiteX35" fmla="*/ 3474788 w 5468294"/>
              <a:gd name="connsiteY35" fmla="*/ 1 h 862390"/>
              <a:gd name="connsiteX36" fmla="*/ 3293720 w 5468294"/>
              <a:gd name="connsiteY36" fmla="*/ 1 h 862390"/>
              <a:gd name="connsiteX37" fmla="*/ 3058330 w 5468294"/>
              <a:gd name="connsiteY37" fmla="*/ 1 h 862390"/>
              <a:gd name="connsiteX38" fmla="*/ 2850100 w 5468294"/>
              <a:gd name="connsiteY38" fmla="*/ 1 h 862390"/>
              <a:gd name="connsiteX39" fmla="*/ 2614710 w 5468294"/>
              <a:gd name="connsiteY39" fmla="*/ 1 h 862390"/>
              <a:gd name="connsiteX40" fmla="*/ 2379320 w 5468294"/>
              <a:gd name="connsiteY40" fmla="*/ 1 h 862390"/>
              <a:gd name="connsiteX41" fmla="*/ 2171090 w 5468294"/>
              <a:gd name="connsiteY41" fmla="*/ 1 h 862390"/>
              <a:gd name="connsiteX42" fmla="*/ 1953807 w 5468294"/>
              <a:gd name="connsiteY42" fmla="*/ 1 h 862390"/>
              <a:gd name="connsiteX43" fmla="*/ 1718417 w 5468294"/>
              <a:gd name="connsiteY43" fmla="*/ 1 h 862390"/>
              <a:gd name="connsiteX44" fmla="*/ 1510187 w 5468294"/>
              <a:gd name="connsiteY44" fmla="*/ 1 h 862390"/>
              <a:gd name="connsiteX45" fmla="*/ 1301957 w 5468294"/>
              <a:gd name="connsiteY45" fmla="*/ 1 h 862390"/>
              <a:gd name="connsiteX46" fmla="*/ 1066568 w 5468294"/>
              <a:gd name="connsiteY46" fmla="*/ 1 h 862390"/>
              <a:gd name="connsiteX47" fmla="*/ 1066567 w 5468294"/>
              <a:gd name="connsiteY47" fmla="*/ 1 h 862390"/>
              <a:gd name="connsiteX48" fmla="*/ 858337 w 5468294"/>
              <a:gd name="connsiteY48" fmla="*/ 1 h 862390"/>
              <a:gd name="connsiteX49" fmla="*/ 650107 w 5468294"/>
              <a:gd name="connsiteY49" fmla="*/ 1 h 862390"/>
              <a:gd name="connsiteX50" fmla="*/ 1078171 w 5468294"/>
              <a:gd name="connsiteY50" fmla="*/ 862390 h 862390"/>
              <a:gd name="connsiteX51" fmla="*/ 428065 w 5468294"/>
              <a:gd name="connsiteY51" fmla="*/ 862390 h 862390"/>
              <a:gd name="connsiteX52" fmla="*/ 0 w 5468294"/>
              <a:gd name="connsiteY52" fmla="*/ 0 h 862390"/>
              <a:gd name="connsiteX0" fmla="*/ 0 w 5232904"/>
              <a:gd name="connsiteY0" fmla="*/ 0 h 862390"/>
              <a:gd name="connsiteX1" fmla="*/ 208230 w 5232904"/>
              <a:gd name="connsiteY1" fmla="*/ 0 h 862390"/>
              <a:gd name="connsiteX2" fmla="*/ 416460 w 5232904"/>
              <a:gd name="connsiteY2" fmla="*/ 0 h 862390"/>
              <a:gd name="connsiteX3" fmla="*/ 416461 w 5232904"/>
              <a:gd name="connsiteY3" fmla="*/ 0 h 862390"/>
              <a:gd name="connsiteX4" fmla="*/ 651850 w 5232904"/>
              <a:gd name="connsiteY4" fmla="*/ 0 h 862390"/>
              <a:gd name="connsiteX5" fmla="*/ 860080 w 5232904"/>
              <a:gd name="connsiteY5" fmla="*/ 0 h 862390"/>
              <a:gd name="connsiteX6" fmla="*/ 1068310 w 5232904"/>
              <a:gd name="connsiteY6" fmla="*/ 0 h 862390"/>
              <a:gd name="connsiteX7" fmla="*/ 1303700 w 5232904"/>
              <a:gd name="connsiteY7" fmla="*/ 0 h 862390"/>
              <a:gd name="connsiteX8" fmla="*/ 1520983 w 5232904"/>
              <a:gd name="connsiteY8" fmla="*/ 0 h 862390"/>
              <a:gd name="connsiteX9" fmla="*/ 1729213 w 5232904"/>
              <a:gd name="connsiteY9" fmla="*/ 0 h 862390"/>
              <a:gd name="connsiteX10" fmla="*/ 1964603 w 5232904"/>
              <a:gd name="connsiteY10" fmla="*/ 0 h 862390"/>
              <a:gd name="connsiteX11" fmla="*/ 2199993 w 5232904"/>
              <a:gd name="connsiteY11" fmla="*/ 0 h 862390"/>
              <a:gd name="connsiteX12" fmla="*/ 2408223 w 5232904"/>
              <a:gd name="connsiteY12" fmla="*/ 0 h 862390"/>
              <a:gd name="connsiteX13" fmla="*/ 2643613 w 5232904"/>
              <a:gd name="connsiteY13" fmla="*/ 0 h 862390"/>
              <a:gd name="connsiteX14" fmla="*/ 2824681 w 5232904"/>
              <a:gd name="connsiteY14" fmla="*/ 0 h 862390"/>
              <a:gd name="connsiteX15" fmla="*/ 3032911 w 5232904"/>
              <a:gd name="connsiteY15" fmla="*/ 0 h 862390"/>
              <a:gd name="connsiteX16" fmla="*/ 3241141 w 5232904"/>
              <a:gd name="connsiteY16" fmla="*/ 0 h 862390"/>
              <a:gd name="connsiteX17" fmla="*/ 3476531 w 5232904"/>
              <a:gd name="connsiteY17" fmla="*/ 0 h 862390"/>
              <a:gd name="connsiteX18" fmla="*/ 3684761 w 5232904"/>
              <a:gd name="connsiteY18" fmla="*/ 0 h 862390"/>
              <a:gd name="connsiteX19" fmla="*/ 3892991 w 5232904"/>
              <a:gd name="connsiteY19" fmla="*/ 0 h 862390"/>
              <a:gd name="connsiteX20" fmla="*/ 4128381 w 5232904"/>
              <a:gd name="connsiteY20" fmla="*/ 0 h 862390"/>
              <a:gd name="connsiteX21" fmla="*/ 4345664 w 5232904"/>
              <a:gd name="connsiteY21" fmla="*/ 0 h 862390"/>
              <a:gd name="connsiteX22" fmla="*/ 4553894 w 5232904"/>
              <a:gd name="connsiteY22" fmla="*/ 0 h 862390"/>
              <a:gd name="connsiteX23" fmla="*/ 4789284 w 5232904"/>
              <a:gd name="connsiteY23" fmla="*/ 0 h 862390"/>
              <a:gd name="connsiteX24" fmla="*/ 5024674 w 5232904"/>
              <a:gd name="connsiteY24" fmla="*/ 0 h 862390"/>
              <a:gd name="connsiteX25" fmla="*/ 5232904 w 5232904"/>
              <a:gd name="connsiteY25" fmla="*/ 0 h 862390"/>
              <a:gd name="connsiteX26" fmla="*/ 5204001 w 5232904"/>
              <a:gd name="connsiteY26" fmla="*/ 1 h 862390"/>
              <a:gd name="connsiteX27" fmla="*/ 4995771 w 5232904"/>
              <a:gd name="connsiteY27" fmla="*/ 1 h 862390"/>
              <a:gd name="connsiteX28" fmla="*/ 4778488 w 5232904"/>
              <a:gd name="connsiteY28" fmla="*/ 1 h 862390"/>
              <a:gd name="connsiteX29" fmla="*/ 4543098 w 5232904"/>
              <a:gd name="connsiteY29" fmla="*/ 1 h 862390"/>
              <a:gd name="connsiteX30" fmla="*/ 4334868 w 5232904"/>
              <a:gd name="connsiteY30" fmla="*/ 1 h 862390"/>
              <a:gd name="connsiteX31" fmla="*/ 4126638 w 5232904"/>
              <a:gd name="connsiteY31" fmla="*/ 1 h 862390"/>
              <a:gd name="connsiteX32" fmla="*/ 3891248 w 5232904"/>
              <a:gd name="connsiteY32" fmla="*/ 1 h 862390"/>
              <a:gd name="connsiteX33" fmla="*/ 3683018 w 5232904"/>
              <a:gd name="connsiteY33" fmla="*/ 1 h 862390"/>
              <a:gd name="connsiteX34" fmla="*/ 3474788 w 5232904"/>
              <a:gd name="connsiteY34" fmla="*/ 1 h 862390"/>
              <a:gd name="connsiteX35" fmla="*/ 3293720 w 5232904"/>
              <a:gd name="connsiteY35" fmla="*/ 1 h 862390"/>
              <a:gd name="connsiteX36" fmla="*/ 3058330 w 5232904"/>
              <a:gd name="connsiteY36" fmla="*/ 1 h 862390"/>
              <a:gd name="connsiteX37" fmla="*/ 2850100 w 5232904"/>
              <a:gd name="connsiteY37" fmla="*/ 1 h 862390"/>
              <a:gd name="connsiteX38" fmla="*/ 2614710 w 5232904"/>
              <a:gd name="connsiteY38" fmla="*/ 1 h 862390"/>
              <a:gd name="connsiteX39" fmla="*/ 2379320 w 5232904"/>
              <a:gd name="connsiteY39" fmla="*/ 1 h 862390"/>
              <a:gd name="connsiteX40" fmla="*/ 2171090 w 5232904"/>
              <a:gd name="connsiteY40" fmla="*/ 1 h 862390"/>
              <a:gd name="connsiteX41" fmla="*/ 1953807 w 5232904"/>
              <a:gd name="connsiteY41" fmla="*/ 1 h 862390"/>
              <a:gd name="connsiteX42" fmla="*/ 1718417 w 5232904"/>
              <a:gd name="connsiteY42" fmla="*/ 1 h 862390"/>
              <a:gd name="connsiteX43" fmla="*/ 1510187 w 5232904"/>
              <a:gd name="connsiteY43" fmla="*/ 1 h 862390"/>
              <a:gd name="connsiteX44" fmla="*/ 1301957 w 5232904"/>
              <a:gd name="connsiteY44" fmla="*/ 1 h 862390"/>
              <a:gd name="connsiteX45" fmla="*/ 1066568 w 5232904"/>
              <a:gd name="connsiteY45" fmla="*/ 1 h 862390"/>
              <a:gd name="connsiteX46" fmla="*/ 1066567 w 5232904"/>
              <a:gd name="connsiteY46" fmla="*/ 1 h 862390"/>
              <a:gd name="connsiteX47" fmla="*/ 858337 w 5232904"/>
              <a:gd name="connsiteY47" fmla="*/ 1 h 862390"/>
              <a:gd name="connsiteX48" fmla="*/ 650107 w 5232904"/>
              <a:gd name="connsiteY48" fmla="*/ 1 h 862390"/>
              <a:gd name="connsiteX49" fmla="*/ 1078171 w 5232904"/>
              <a:gd name="connsiteY49" fmla="*/ 862390 h 862390"/>
              <a:gd name="connsiteX50" fmla="*/ 428065 w 5232904"/>
              <a:gd name="connsiteY50" fmla="*/ 862390 h 862390"/>
              <a:gd name="connsiteX51" fmla="*/ 0 w 5232904"/>
              <a:gd name="connsiteY51" fmla="*/ 0 h 862390"/>
              <a:gd name="connsiteX0" fmla="*/ 0 w 5204001"/>
              <a:gd name="connsiteY0" fmla="*/ 0 h 862390"/>
              <a:gd name="connsiteX1" fmla="*/ 208230 w 5204001"/>
              <a:gd name="connsiteY1" fmla="*/ 0 h 862390"/>
              <a:gd name="connsiteX2" fmla="*/ 416460 w 5204001"/>
              <a:gd name="connsiteY2" fmla="*/ 0 h 862390"/>
              <a:gd name="connsiteX3" fmla="*/ 416461 w 5204001"/>
              <a:gd name="connsiteY3" fmla="*/ 0 h 862390"/>
              <a:gd name="connsiteX4" fmla="*/ 651850 w 5204001"/>
              <a:gd name="connsiteY4" fmla="*/ 0 h 862390"/>
              <a:gd name="connsiteX5" fmla="*/ 860080 w 5204001"/>
              <a:gd name="connsiteY5" fmla="*/ 0 h 862390"/>
              <a:gd name="connsiteX6" fmla="*/ 1068310 w 5204001"/>
              <a:gd name="connsiteY6" fmla="*/ 0 h 862390"/>
              <a:gd name="connsiteX7" fmla="*/ 1303700 w 5204001"/>
              <a:gd name="connsiteY7" fmla="*/ 0 h 862390"/>
              <a:gd name="connsiteX8" fmla="*/ 1520983 w 5204001"/>
              <a:gd name="connsiteY8" fmla="*/ 0 h 862390"/>
              <a:gd name="connsiteX9" fmla="*/ 1729213 w 5204001"/>
              <a:gd name="connsiteY9" fmla="*/ 0 h 862390"/>
              <a:gd name="connsiteX10" fmla="*/ 1964603 w 5204001"/>
              <a:gd name="connsiteY10" fmla="*/ 0 h 862390"/>
              <a:gd name="connsiteX11" fmla="*/ 2199993 w 5204001"/>
              <a:gd name="connsiteY11" fmla="*/ 0 h 862390"/>
              <a:gd name="connsiteX12" fmla="*/ 2408223 w 5204001"/>
              <a:gd name="connsiteY12" fmla="*/ 0 h 862390"/>
              <a:gd name="connsiteX13" fmla="*/ 2643613 w 5204001"/>
              <a:gd name="connsiteY13" fmla="*/ 0 h 862390"/>
              <a:gd name="connsiteX14" fmla="*/ 2824681 w 5204001"/>
              <a:gd name="connsiteY14" fmla="*/ 0 h 862390"/>
              <a:gd name="connsiteX15" fmla="*/ 3032911 w 5204001"/>
              <a:gd name="connsiteY15" fmla="*/ 0 h 862390"/>
              <a:gd name="connsiteX16" fmla="*/ 3241141 w 5204001"/>
              <a:gd name="connsiteY16" fmla="*/ 0 h 862390"/>
              <a:gd name="connsiteX17" fmla="*/ 3476531 w 5204001"/>
              <a:gd name="connsiteY17" fmla="*/ 0 h 862390"/>
              <a:gd name="connsiteX18" fmla="*/ 3684761 w 5204001"/>
              <a:gd name="connsiteY18" fmla="*/ 0 h 862390"/>
              <a:gd name="connsiteX19" fmla="*/ 3892991 w 5204001"/>
              <a:gd name="connsiteY19" fmla="*/ 0 h 862390"/>
              <a:gd name="connsiteX20" fmla="*/ 4128381 w 5204001"/>
              <a:gd name="connsiteY20" fmla="*/ 0 h 862390"/>
              <a:gd name="connsiteX21" fmla="*/ 4345664 w 5204001"/>
              <a:gd name="connsiteY21" fmla="*/ 0 h 862390"/>
              <a:gd name="connsiteX22" fmla="*/ 4553894 w 5204001"/>
              <a:gd name="connsiteY22" fmla="*/ 0 h 862390"/>
              <a:gd name="connsiteX23" fmla="*/ 4789284 w 5204001"/>
              <a:gd name="connsiteY23" fmla="*/ 0 h 862390"/>
              <a:gd name="connsiteX24" fmla="*/ 5024674 w 5204001"/>
              <a:gd name="connsiteY24" fmla="*/ 0 h 862390"/>
              <a:gd name="connsiteX25" fmla="*/ 5204001 w 5204001"/>
              <a:gd name="connsiteY25" fmla="*/ 1 h 862390"/>
              <a:gd name="connsiteX26" fmla="*/ 4995771 w 5204001"/>
              <a:gd name="connsiteY26" fmla="*/ 1 h 862390"/>
              <a:gd name="connsiteX27" fmla="*/ 4778488 w 5204001"/>
              <a:gd name="connsiteY27" fmla="*/ 1 h 862390"/>
              <a:gd name="connsiteX28" fmla="*/ 4543098 w 5204001"/>
              <a:gd name="connsiteY28" fmla="*/ 1 h 862390"/>
              <a:gd name="connsiteX29" fmla="*/ 4334868 w 5204001"/>
              <a:gd name="connsiteY29" fmla="*/ 1 h 862390"/>
              <a:gd name="connsiteX30" fmla="*/ 4126638 w 5204001"/>
              <a:gd name="connsiteY30" fmla="*/ 1 h 862390"/>
              <a:gd name="connsiteX31" fmla="*/ 3891248 w 5204001"/>
              <a:gd name="connsiteY31" fmla="*/ 1 h 862390"/>
              <a:gd name="connsiteX32" fmla="*/ 3683018 w 5204001"/>
              <a:gd name="connsiteY32" fmla="*/ 1 h 862390"/>
              <a:gd name="connsiteX33" fmla="*/ 3474788 w 5204001"/>
              <a:gd name="connsiteY33" fmla="*/ 1 h 862390"/>
              <a:gd name="connsiteX34" fmla="*/ 3293720 w 5204001"/>
              <a:gd name="connsiteY34" fmla="*/ 1 h 862390"/>
              <a:gd name="connsiteX35" fmla="*/ 3058330 w 5204001"/>
              <a:gd name="connsiteY35" fmla="*/ 1 h 862390"/>
              <a:gd name="connsiteX36" fmla="*/ 2850100 w 5204001"/>
              <a:gd name="connsiteY36" fmla="*/ 1 h 862390"/>
              <a:gd name="connsiteX37" fmla="*/ 2614710 w 5204001"/>
              <a:gd name="connsiteY37" fmla="*/ 1 h 862390"/>
              <a:gd name="connsiteX38" fmla="*/ 2379320 w 5204001"/>
              <a:gd name="connsiteY38" fmla="*/ 1 h 862390"/>
              <a:gd name="connsiteX39" fmla="*/ 2171090 w 5204001"/>
              <a:gd name="connsiteY39" fmla="*/ 1 h 862390"/>
              <a:gd name="connsiteX40" fmla="*/ 1953807 w 5204001"/>
              <a:gd name="connsiteY40" fmla="*/ 1 h 862390"/>
              <a:gd name="connsiteX41" fmla="*/ 1718417 w 5204001"/>
              <a:gd name="connsiteY41" fmla="*/ 1 h 862390"/>
              <a:gd name="connsiteX42" fmla="*/ 1510187 w 5204001"/>
              <a:gd name="connsiteY42" fmla="*/ 1 h 862390"/>
              <a:gd name="connsiteX43" fmla="*/ 1301957 w 5204001"/>
              <a:gd name="connsiteY43" fmla="*/ 1 h 862390"/>
              <a:gd name="connsiteX44" fmla="*/ 1066568 w 5204001"/>
              <a:gd name="connsiteY44" fmla="*/ 1 h 862390"/>
              <a:gd name="connsiteX45" fmla="*/ 1066567 w 5204001"/>
              <a:gd name="connsiteY45" fmla="*/ 1 h 862390"/>
              <a:gd name="connsiteX46" fmla="*/ 858337 w 5204001"/>
              <a:gd name="connsiteY46" fmla="*/ 1 h 862390"/>
              <a:gd name="connsiteX47" fmla="*/ 650107 w 5204001"/>
              <a:gd name="connsiteY47" fmla="*/ 1 h 862390"/>
              <a:gd name="connsiteX48" fmla="*/ 1078171 w 5204001"/>
              <a:gd name="connsiteY48" fmla="*/ 862390 h 862390"/>
              <a:gd name="connsiteX49" fmla="*/ 428065 w 5204001"/>
              <a:gd name="connsiteY49" fmla="*/ 862390 h 862390"/>
              <a:gd name="connsiteX50" fmla="*/ 0 w 5204001"/>
              <a:gd name="connsiteY50" fmla="*/ 0 h 862390"/>
              <a:gd name="connsiteX0" fmla="*/ 0 w 5024674"/>
              <a:gd name="connsiteY0" fmla="*/ 0 h 862390"/>
              <a:gd name="connsiteX1" fmla="*/ 208230 w 5024674"/>
              <a:gd name="connsiteY1" fmla="*/ 0 h 862390"/>
              <a:gd name="connsiteX2" fmla="*/ 416460 w 5024674"/>
              <a:gd name="connsiteY2" fmla="*/ 0 h 862390"/>
              <a:gd name="connsiteX3" fmla="*/ 416461 w 5024674"/>
              <a:gd name="connsiteY3" fmla="*/ 0 h 862390"/>
              <a:gd name="connsiteX4" fmla="*/ 651850 w 5024674"/>
              <a:gd name="connsiteY4" fmla="*/ 0 h 862390"/>
              <a:gd name="connsiteX5" fmla="*/ 860080 w 5024674"/>
              <a:gd name="connsiteY5" fmla="*/ 0 h 862390"/>
              <a:gd name="connsiteX6" fmla="*/ 1068310 w 5024674"/>
              <a:gd name="connsiteY6" fmla="*/ 0 h 862390"/>
              <a:gd name="connsiteX7" fmla="*/ 1303700 w 5024674"/>
              <a:gd name="connsiteY7" fmla="*/ 0 h 862390"/>
              <a:gd name="connsiteX8" fmla="*/ 1520983 w 5024674"/>
              <a:gd name="connsiteY8" fmla="*/ 0 h 862390"/>
              <a:gd name="connsiteX9" fmla="*/ 1729213 w 5024674"/>
              <a:gd name="connsiteY9" fmla="*/ 0 h 862390"/>
              <a:gd name="connsiteX10" fmla="*/ 1964603 w 5024674"/>
              <a:gd name="connsiteY10" fmla="*/ 0 h 862390"/>
              <a:gd name="connsiteX11" fmla="*/ 2199993 w 5024674"/>
              <a:gd name="connsiteY11" fmla="*/ 0 h 862390"/>
              <a:gd name="connsiteX12" fmla="*/ 2408223 w 5024674"/>
              <a:gd name="connsiteY12" fmla="*/ 0 h 862390"/>
              <a:gd name="connsiteX13" fmla="*/ 2643613 w 5024674"/>
              <a:gd name="connsiteY13" fmla="*/ 0 h 862390"/>
              <a:gd name="connsiteX14" fmla="*/ 2824681 w 5024674"/>
              <a:gd name="connsiteY14" fmla="*/ 0 h 862390"/>
              <a:gd name="connsiteX15" fmla="*/ 3032911 w 5024674"/>
              <a:gd name="connsiteY15" fmla="*/ 0 h 862390"/>
              <a:gd name="connsiteX16" fmla="*/ 3241141 w 5024674"/>
              <a:gd name="connsiteY16" fmla="*/ 0 h 862390"/>
              <a:gd name="connsiteX17" fmla="*/ 3476531 w 5024674"/>
              <a:gd name="connsiteY17" fmla="*/ 0 h 862390"/>
              <a:gd name="connsiteX18" fmla="*/ 3684761 w 5024674"/>
              <a:gd name="connsiteY18" fmla="*/ 0 h 862390"/>
              <a:gd name="connsiteX19" fmla="*/ 3892991 w 5024674"/>
              <a:gd name="connsiteY19" fmla="*/ 0 h 862390"/>
              <a:gd name="connsiteX20" fmla="*/ 4128381 w 5024674"/>
              <a:gd name="connsiteY20" fmla="*/ 0 h 862390"/>
              <a:gd name="connsiteX21" fmla="*/ 4345664 w 5024674"/>
              <a:gd name="connsiteY21" fmla="*/ 0 h 862390"/>
              <a:gd name="connsiteX22" fmla="*/ 4553894 w 5024674"/>
              <a:gd name="connsiteY22" fmla="*/ 0 h 862390"/>
              <a:gd name="connsiteX23" fmla="*/ 4789284 w 5024674"/>
              <a:gd name="connsiteY23" fmla="*/ 0 h 862390"/>
              <a:gd name="connsiteX24" fmla="*/ 5024674 w 5024674"/>
              <a:gd name="connsiteY24" fmla="*/ 0 h 862390"/>
              <a:gd name="connsiteX25" fmla="*/ 4995771 w 5024674"/>
              <a:gd name="connsiteY25" fmla="*/ 1 h 862390"/>
              <a:gd name="connsiteX26" fmla="*/ 4778488 w 5024674"/>
              <a:gd name="connsiteY26" fmla="*/ 1 h 862390"/>
              <a:gd name="connsiteX27" fmla="*/ 4543098 w 5024674"/>
              <a:gd name="connsiteY27" fmla="*/ 1 h 862390"/>
              <a:gd name="connsiteX28" fmla="*/ 4334868 w 5024674"/>
              <a:gd name="connsiteY28" fmla="*/ 1 h 862390"/>
              <a:gd name="connsiteX29" fmla="*/ 4126638 w 5024674"/>
              <a:gd name="connsiteY29" fmla="*/ 1 h 862390"/>
              <a:gd name="connsiteX30" fmla="*/ 3891248 w 5024674"/>
              <a:gd name="connsiteY30" fmla="*/ 1 h 862390"/>
              <a:gd name="connsiteX31" fmla="*/ 3683018 w 5024674"/>
              <a:gd name="connsiteY31" fmla="*/ 1 h 862390"/>
              <a:gd name="connsiteX32" fmla="*/ 3474788 w 5024674"/>
              <a:gd name="connsiteY32" fmla="*/ 1 h 862390"/>
              <a:gd name="connsiteX33" fmla="*/ 3293720 w 5024674"/>
              <a:gd name="connsiteY33" fmla="*/ 1 h 862390"/>
              <a:gd name="connsiteX34" fmla="*/ 3058330 w 5024674"/>
              <a:gd name="connsiteY34" fmla="*/ 1 h 862390"/>
              <a:gd name="connsiteX35" fmla="*/ 2850100 w 5024674"/>
              <a:gd name="connsiteY35" fmla="*/ 1 h 862390"/>
              <a:gd name="connsiteX36" fmla="*/ 2614710 w 5024674"/>
              <a:gd name="connsiteY36" fmla="*/ 1 h 862390"/>
              <a:gd name="connsiteX37" fmla="*/ 2379320 w 5024674"/>
              <a:gd name="connsiteY37" fmla="*/ 1 h 862390"/>
              <a:gd name="connsiteX38" fmla="*/ 2171090 w 5024674"/>
              <a:gd name="connsiteY38" fmla="*/ 1 h 862390"/>
              <a:gd name="connsiteX39" fmla="*/ 1953807 w 5024674"/>
              <a:gd name="connsiteY39" fmla="*/ 1 h 862390"/>
              <a:gd name="connsiteX40" fmla="*/ 1718417 w 5024674"/>
              <a:gd name="connsiteY40" fmla="*/ 1 h 862390"/>
              <a:gd name="connsiteX41" fmla="*/ 1510187 w 5024674"/>
              <a:gd name="connsiteY41" fmla="*/ 1 h 862390"/>
              <a:gd name="connsiteX42" fmla="*/ 1301957 w 5024674"/>
              <a:gd name="connsiteY42" fmla="*/ 1 h 862390"/>
              <a:gd name="connsiteX43" fmla="*/ 1066568 w 5024674"/>
              <a:gd name="connsiteY43" fmla="*/ 1 h 862390"/>
              <a:gd name="connsiteX44" fmla="*/ 1066567 w 5024674"/>
              <a:gd name="connsiteY44" fmla="*/ 1 h 862390"/>
              <a:gd name="connsiteX45" fmla="*/ 858337 w 5024674"/>
              <a:gd name="connsiteY45" fmla="*/ 1 h 862390"/>
              <a:gd name="connsiteX46" fmla="*/ 650107 w 5024674"/>
              <a:gd name="connsiteY46" fmla="*/ 1 h 862390"/>
              <a:gd name="connsiteX47" fmla="*/ 1078171 w 5024674"/>
              <a:gd name="connsiteY47" fmla="*/ 862390 h 862390"/>
              <a:gd name="connsiteX48" fmla="*/ 428065 w 5024674"/>
              <a:gd name="connsiteY48" fmla="*/ 862390 h 862390"/>
              <a:gd name="connsiteX49" fmla="*/ 0 w 5024674"/>
              <a:gd name="connsiteY49" fmla="*/ 0 h 862390"/>
              <a:gd name="connsiteX0" fmla="*/ 0 w 4995771"/>
              <a:gd name="connsiteY0" fmla="*/ 0 h 862390"/>
              <a:gd name="connsiteX1" fmla="*/ 208230 w 4995771"/>
              <a:gd name="connsiteY1" fmla="*/ 0 h 862390"/>
              <a:gd name="connsiteX2" fmla="*/ 416460 w 4995771"/>
              <a:gd name="connsiteY2" fmla="*/ 0 h 862390"/>
              <a:gd name="connsiteX3" fmla="*/ 416461 w 4995771"/>
              <a:gd name="connsiteY3" fmla="*/ 0 h 862390"/>
              <a:gd name="connsiteX4" fmla="*/ 651850 w 4995771"/>
              <a:gd name="connsiteY4" fmla="*/ 0 h 862390"/>
              <a:gd name="connsiteX5" fmla="*/ 860080 w 4995771"/>
              <a:gd name="connsiteY5" fmla="*/ 0 h 862390"/>
              <a:gd name="connsiteX6" fmla="*/ 1068310 w 4995771"/>
              <a:gd name="connsiteY6" fmla="*/ 0 h 862390"/>
              <a:gd name="connsiteX7" fmla="*/ 1303700 w 4995771"/>
              <a:gd name="connsiteY7" fmla="*/ 0 h 862390"/>
              <a:gd name="connsiteX8" fmla="*/ 1520983 w 4995771"/>
              <a:gd name="connsiteY8" fmla="*/ 0 h 862390"/>
              <a:gd name="connsiteX9" fmla="*/ 1729213 w 4995771"/>
              <a:gd name="connsiteY9" fmla="*/ 0 h 862390"/>
              <a:gd name="connsiteX10" fmla="*/ 1964603 w 4995771"/>
              <a:gd name="connsiteY10" fmla="*/ 0 h 862390"/>
              <a:gd name="connsiteX11" fmla="*/ 2199993 w 4995771"/>
              <a:gd name="connsiteY11" fmla="*/ 0 h 862390"/>
              <a:gd name="connsiteX12" fmla="*/ 2408223 w 4995771"/>
              <a:gd name="connsiteY12" fmla="*/ 0 h 862390"/>
              <a:gd name="connsiteX13" fmla="*/ 2643613 w 4995771"/>
              <a:gd name="connsiteY13" fmla="*/ 0 h 862390"/>
              <a:gd name="connsiteX14" fmla="*/ 2824681 w 4995771"/>
              <a:gd name="connsiteY14" fmla="*/ 0 h 862390"/>
              <a:gd name="connsiteX15" fmla="*/ 3032911 w 4995771"/>
              <a:gd name="connsiteY15" fmla="*/ 0 h 862390"/>
              <a:gd name="connsiteX16" fmla="*/ 3241141 w 4995771"/>
              <a:gd name="connsiteY16" fmla="*/ 0 h 862390"/>
              <a:gd name="connsiteX17" fmla="*/ 3476531 w 4995771"/>
              <a:gd name="connsiteY17" fmla="*/ 0 h 862390"/>
              <a:gd name="connsiteX18" fmla="*/ 3684761 w 4995771"/>
              <a:gd name="connsiteY18" fmla="*/ 0 h 862390"/>
              <a:gd name="connsiteX19" fmla="*/ 3892991 w 4995771"/>
              <a:gd name="connsiteY19" fmla="*/ 0 h 862390"/>
              <a:gd name="connsiteX20" fmla="*/ 4128381 w 4995771"/>
              <a:gd name="connsiteY20" fmla="*/ 0 h 862390"/>
              <a:gd name="connsiteX21" fmla="*/ 4345664 w 4995771"/>
              <a:gd name="connsiteY21" fmla="*/ 0 h 862390"/>
              <a:gd name="connsiteX22" fmla="*/ 4553894 w 4995771"/>
              <a:gd name="connsiteY22" fmla="*/ 0 h 862390"/>
              <a:gd name="connsiteX23" fmla="*/ 4789284 w 4995771"/>
              <a:gd name="connsiteY23" fmla="*/ 0 h 862390"/>
              <a:gd name="connsiteX24" fmla="*/ 4995771 w 4995771"/>
              <a:gd name="connsiteY24" fmla="*/ 1 h 862390"/>
              <a:gd name="connsiteX25" fmla="*/ 4778488 w 4995771"/>
              <a:gd name="connsiteY25" fmla="*/ 1 h 862390"/>
              <a:gd name="connsiteX26" fmla="*/ 4543098 w 4995771"/>
              <a:gd name="connsiteY26" fmla="*/ 1 h 862390"/>
              <a:gd name="connsiteX27" fmla="*/ 4334868 w 4995771"/>
              <a:gd name="connsiteY27" fmla="*/ 1 h 862390"/>
              <a:gd name="connsiteX28" fmla="*/ 4126638 w 4995771"/>
              <a:gd name="connsiteY28" fmla="*/ 1 h 862390"/>
              <a:gd name="connsiteX29" fmla="*/ 3891248 w 4995771"/>
              <a:gd name="connsiteY29" fmla="*/ 1 h 862390"/>
              <a:gd name="connsiteX30" fmla="*/ 3683018 w 4995771"/>
              <a:gd name="connsiteY30" fmla="*/ 1 h 862390"/>
              <a:gd name="connsiteX31" fmla="*/ 3474788 w 4995771"/>
              <a:gd name="connsiteY31" fmla="*/ 1 h 862390"/>
              <a:gd name="connsiteX32" fmla="*/ 3293720 w 4995771"/>
              <a:gd name="connsiteY32" fmla="*/ 1 h 862390"/>
              <a:gd name="connsiteX33" fmla="*/ 3058330 w 4995771"/>
              <a:gd name="connsiteY33" fmla="*/ 1 h 862390"/>
              <a:gd name="connsiteX34" fmla="*/ 2850100 w 4995771"/>
              <a:gd name="connsiteY34" fmla="*/ 1 h 862390"/>
              <a:gd name="connsiteX35" fmla="*/ 2614710 w 4995771"/>
              <a:gd name="connsiteY35" fmla="*/ 1 h 862390"/>
              <a:gd name="connsiteX36" fmla="*/ 2379320 w 4995771"/>
              <a:gd name="connsiteY36" fmla="*/ 1 h 862390"/>
              <a:gd name="connsiteX37" fmla="*/ 2171090 w 4995771"/>
              <a:gd name="connsiteY37" fmla="*/ 1 h 862390"/>
              <a:gd name="connsiteX38" fmla="*/ 1953807 w 4995771"/>
              <a:gd name="connsiteY38" fmla="*/ 1 h 862390"/>
              <a:gd name="connsiteX39" fmla="*/ 1718417 w 4995771"/>
              <a:gd name="connsiteY39" fmla="*/ 1 h 862390"/>
              <a:gd name="connsiteX40" fmla="*/ 1510187 w 4995771"/>
              <a:gd name="connsiteY40" fmla="*/ 1 h 862390"/>
              <a:gd name="connsiteX41" fmla="*/ 1301957 w 4995771"/>
              <a:gd name="connsiteY41" fmla="*/ 1 h 862390"/>
              <a:gd name="connsiteX42" fmla="*/ 1066568 w 4995771"/>
              <a:gd name="connsiteY42" fmla="*/ 1 h 862390"/>
              <a:gd name="connsiteX43" fmla="*/ 1066567 w 4995771"/>
              <a:gd name="connsiteY43" fmla="*/ 1 h 862390"/>
              <a:gd name="connsiteX44" fmla="*/ 858337 w 4995771"/>
              <a:gd name="connsiteY44" fmla="*/ 1 h 862390"/>
              <a:gd name="connsiteX45" fmla="*/ 650107 w 4995771"/>
              <a:gd name="connsiteY45" fmla="*/ 1 h 862390"/>
              <a:gd name="connsiteX46" fmla="*/ 1078171 w 4995771"/>
              <a:gd name="connsiteY46" fmla="*/ 862390 h 862390"/>
              <a:gd name="connsiteX47" fmla="*/ 428065 w 4995771"/>
              <a:gd name="connsiteY47" fmla="*/ 862390 h 862390"/>
              <a:gd name="connsiteX48" fmla="*/ 0 w 4995771"/>
              <a:gd name="connsiteY48" fmla="*/ 0 h 862390"/>
              <a:gd name="connsiteX0" fmla="*/ 0 w 4789284"/>
              <a:gd name="connsiteY0" fmla="*/ 0 h 862390"/>
              <a:gd name="connsiteX1" fmla="*/ 208230 w 4789284"/>
              <a:gd name="connsiteY1" fmla="*/ 0 h 862390"/>
              <a:gd name="connsiteX2" fmla="*/ 416460 w 4789284"/>
              <a:gd name="connsiteY2" fmla="*/ 0 h 862390"/>
              <a:gd name="connsiteX3" fmla="*/ 416461 w 4789284"/>
              <a:gd name="connsiteY3" fmla="*/ 0 h 862390"/>
              <a:gd name="connsiteX4" fmla="*/ 651850 w 4789284"/>
              <a:gd name="connsiteY4" fmla="*/ 0 h 862390"/>
              <a:gd name="connsiteX5" fmla="*/ 860080 w 4789284"/>
              <a:gd name="connsiteY5" fmla="*/ 0 h 862390"/>
              <a:gd name="connsiteX6" fmla="*/ 1068310 w 4789284"/>
              <a:gd name="connsiteY6" fmla="*/ 0 h 862390"/>
              <a:gd name="connsiteX7" fmla="*/ 1303700 w 4789284"/>
              <a:gd name="connsiteY7" fmla="*/ 0 h 862390"/>
              <a:gd name="connsiteX8" fmla="*/ 1520983 w 4789284"/>
              <a:gd name="connsiteY8" fmla="*/ 0 h 862390"/>
              <a:gd name="connsiteX9" fmla="*/ 1729213 w 4789284"/>
              <a:gd name="connsiteY9" fmla="*/ 0 h 862390"/>
              <a:gd name="connsiteX10" fmla="*/ 1964603 w 4789284"/>
              <a:gd name="connsiteY10" fmla="*/ 0 h 862390"/>
              <a:gd name="connsiteX11" fmla="*/ 2199993 w 4789284"/>
              <a:gd name="connsiteY11" fmla="*/ 0 h 862390"/>
              <a:gd name="connsiteX12" fmla="*/ 2408223 w 4789284"/>
              <a:gd name="connsiteY12" fmla="*/ 0 h 862390"/>
              <a:gd name="connsiteX13" fmla="*/ 2643613 w 4789284"/>
              <a:gd name="connsiteY13" fmla="*/ 0 h 862390"/>
              <a:gd name="connsiteX14" fmla="*/ 2824681 w 4789284"/>
              <a:gd name="connsiteY14" fmla="*/ 0 h 862390"/>
              <a:gd name="connsiteX15" fmla="*/ 3032911 w 4789284"/>
              <a:gd name="connsiteY15" fmla="*/ 0 h 862390"/>
              <a:gd name="connsiteX16" fmla="*/ 3241141 w 4789284"/>
              <a:gd name="connsiteY16" fmla="*/ 0 h 862390"/>
              <a:gd name="connsiteX17" fmla="*/ 3476531 w 4789284"/>
              <a:gd name="connsiteY17" fmla="*/ 0 h 862390"/>
              <a:gd name="connsiteX18" fmla="*/ 3684761 w 4789284"/>
              <a:gd name="connsiteY18" fmla="*/ 0 h 862390"/>
              <a:gd name="connsiteX19" fmla="*/ 3892991 w 4789284"/>
              <a:gd name="connsiteY19" fmla="*/ 0 h 862390"/>
              <a:gd name="connsiteX20" fmla="*/ 4128381 w 4789284"/>
              <a:gd name="connsiteY20" fmla="*/ 0 h 862390"/>
              <a:gd name="connsiteX21" fmla="*/ 4345664 w 4789284"/>
              <a:gd name="connsiteY21" fmla="*/ 0 h 862390"/>
              <a:gd name="connsiteX22" fmla="*/ 4553894 w 4789284"/>
              <a:gd name="connsiteY22" fmla="*/ 0 h 862390"/>
              <a:gd name="connsiteX23" fmla="*/ 4789284 w 4789284"/>
              <a:gd name="connsiteY23" fmla="*/ 0 h 862390"/>
              <a:gd name="connsiteX24" fmla="*/ 4778488 w 4789284"/>
              <a:gd name="connsiteY24" fmla="*/ 1 h 862390"/>
              <a:gd name="connsiteX25" fmla="*/ 4543098 w 4789284"/>
              <a:gd name="connsiteY25" fmla="*/ 1 h 862390"/>
              <a:gd name="connsiteX26" fmla="*/ 4334868 w 4789284"/>
              <a:gd name="connsiteY26" fmla="*/ 1 h 862390"/>
              <a:gd name="connsiteX27" fmla="*/ 4126638 w 4789284"/>
              <a:gd name="connsiteY27" fmla="*/ 1 h 862390"/>
              <a:gd name="connsiteX28" fmla="*/ 3891248 w 4789284"/>
              <a:gd name="connsiteY28" fmla="*/ 1 h 862390"/>
              <a:gd name="connsiteX29" fmla="*/ 3683018 w 4789284"/>
              <a:gd name="connsiteY29" fmla="*/ 1 h 862390"/>
              <a:gd name="connsiteX30" fmla="*/ 3474788 w 4789284"/>
              <a:gd name="connsiteY30" fmla="*/ 1 h 862390"/>
              <a:gd name="connsiteX31" fmla="*/ 3293720 w 4789284"/>
              <a:gd name="connsiteY31" fmla="*/ 1 h 862390"/>
              <a:gd name="connsiteX32" fmla="*/ 3058330 w 4789284"/>
              <a:gd name="connsiteY32" fmla="*/ 1 h 862390"/>
              <a:gd name="connsiteX33" fmla="*/ 2850100 w 4789284"/>
              <a:gd name="connsiteY33" fmla="*/ 1 h 862390"/>
              <a:gd name="connsiteX34" fmla="*/ 2614710 w 4789284"/>
              <a:gd name="connsiteY34" fmla="*/ 1 h 862390"/>
              <a:gd name="connsiteX35" fmla="*/ 2379320 w 4789284"/>
              <a:gd name="connsiteY35" fmla="*/ 1 h 862390"/>
              <a:gd name="connsiteX36" fmla="*/ 2171090 w 4789284"/>
              <a:gd name="connsiteY36" fmla="*/ 1 h 862390"/>
              <a:gd name="connsiteX37" fmla="*/ 1953807 w 4789284"/>
              <a:gd name="connsiteY37" fmla="*/ 1 h 862390"/>
              <a:gd name="connsiteX38" fmla="*/ 1718417 w 4789284"/>
              <a:gd name="connsiteY38" fmla="*/ 1 h 862390"/>
              <a:gd name="connsiteX39" fmla="*/ 1510187 w 4789284"/>
              <a:gd name="connsiteY39" fmla="*/ 1 h 862390"/>
              <a:gd name="connsiteX40" fmla="*/ 1301957 w 4789284"/>
              <a:gd name="connsiteY40" fmla="*/ 1 h 862390"/>
              <a:gd name="connsiteX41" fmla="*/ 1066568 w 4789284"/>
              <a:gd name="connsiteY41" fmla="*/ 1 h 862390"/>
              <a:gd name="connsiteX42" fmla="*/ 1066567 w 4789284"/>
              <a:gd name="connsiteY42" fmla="*/ 1 h 862390"/>
              <a:gd name="connsiteX43" fmla="*/ 858337 w 4789284"/>
              <a:gd name="connsiteY43" fmla="*/ 1 h 862390"/>
              <a:gd name="connsiteX44" fmla="*/ 650107 w 4789284"/>
              <a:gd name="connsiteY44" fmla="*/ 1 h 862390"/>
              <a:gd name="connsiteX45" fmla="*/ 1078171 w 4789284"/>
              <a:gd name="connsiteY45" fmla="*/ 862390 h 862390"/>
              <a:gd name="connsiteX46" fmla="*/ 428065 w 4789284"/>
              <a:gd name="connsiteY46" fmla="*/ 862390 h 862390"/>
              <a:gd name="connsiteX47" fmla="*/ 0 w 4789284"/>
              <a:gd name="connsiteY47" fmla="*/ 0 h 862390"/>
              <a:gd name="connsiteX0" fmla="*/ 0 w 4789284"/>
              <a:gd name="connsiteY0" fmla="*/ 0 h 862390"/>
              <a:gd name="connsiteX1" fmla="*/ 208230 w 4789284"/>
              <a:gd name="connsiteY1" fmla="*/ 0 h 862390"/>
              <a:gd name="connsiteX2" fmla="*/ 416460 w 4789284"/>
              <a:gd name="connsiteY2" fmla="*/ 0 h 862390"/>
              <a:gd name="connsiteX3" fmla="*/ 416461 w 4789284"/>
              <a:gd name="connsiteY3" fmla="*/ 0 h 862390"/>
              <a:gd name="connsiteX4" fmla="*/ 651850 w 4789284"/>
              <a:gd name="connsiteY4" fmla="*/ 0 h 862390"/>
              <a:gd name="connsiteX5" fmla="*/ 860080 w 4789284"/>
              <a:gd name="connsiteY5" fmla="*/ 0 h 862390"/>
              <a:gd name="connsiteX6" fmla="*/ 1068310 w 4789284"/>
              <a:gd name="connsiteY6" fmla="*/ 0 h 862390"/>
              <a:gd name="connsiteX7" fmla="*/ 1303700 w 4789284"/>
              <a:gd name="connsiteY7" fmla="*/ 0 h 862390"/>
              <a:gd name="connsiteX8" fmla="*/ 1520983 w 4789284"/>
              <a:gd name="connsiteY8" fmla="*/ 0 h 862390"/>
              <a:gd name="connsiteX9" fmla="*/ 1729213 w 4789284"/>
              <a:gd name="connsiteY9" fmla="*/ 0 h 862390"/>
              <a:gd name="connsiteX10" fmla="*/ 1964603 w 4789284"/>
              <a:gd name="connsiteY10" fmla="*/ 0 h 862390"/>
              <a:gd name="connsiteX11" fmla="*/ 2199993 w 4789284"/>
              <a:gd name="connsiteY11" fmla="*/ 0 h 862390"/>
              <a:gd name="connsiteX12" fmla="*/ 2408223 w 4789284"/>
              <a:gd name="connsiteY12" fmla="*/ 0 h 862390"/>
              <a:gd name="connsiteX13" fmla="*/ 2643613 w 4789284"/>
              <a:gd name="connsiteY13" fmla="*/ 0 h 862390"/>
              <a:gd name="connsiteX14" fmla="*/ 2824681 w 4789284"/>
              <a:gd name="connsiteY14" fmla="*/ 0 h 862390"/>
              <a:gd name="connsiteX15" fmla="*/ 3032911 w 4789284"/>
              <a:gd name="connsiteY15" fmla="*/ 0 h 862390"/>
              <a:gd name="connsiteX16" fmla="*/ 3241141 w 4789284"/>
              <a:gd name="connsiteY16" fmla="*/ 0 h 862390"/>
              <a:gd name="connsiteX17" fmla="*/ 3476531 w 4789284"/>
              <a:gd name="connsiteY17" fmla="*/ 0 h 862390"/>
              <a:gd name="connsiteX18" fmla="*/ 3684761 w 4789284"/>
              <a:gd name="connsiteY18" fmla="*/ 0 h 862390"/>
              <a:gd name="connsiteX19" fmla="*/ 3892991 w 4789284"/>
              <a:gd name="connsiteY19" fmla="*/ 0 h 862390"/>
              <a:gd name="connsiteX20" fmla="*/ 4128381 w 4789284"/>
              <a:gd name="connsiteY20" fmla="*/ 0 h 862390"/>
              <a:gd name="connsiteX21" fmla="*/ 4345664 w 4789284"/>
              <a:gd name="connsiteY21" fmla="*/ 0 h 862390"/>
              <a:gd name="connsiteX22" fmla="*/ 4553894 w 4789284"/>
              <a:gd name="connsiteY22" fmla="*/ 0 h 862390"/>
              <a:gd name="connsiteX23" fmla="*/ 4789284 w 4789284"/>
              <a:gd name="connsiteY23" fmla="*/ 0 h 862390"/>
              <a:gd name="connsiteX24" fmla="*/ 4543098 w 4789284"/>
              <a:gd name="connsiteY24" fmla="*/ 1 h 862390"/>
              <a:gd name="connsiteX25" fmla="*/ 4334868 w 4789284"/>
              <a:gd name="connsiteY25" fmla="*/ 1 h 862390"/>
              <a:gd name="connsiteX26" fmla="*/ 4126638 w 4789284"/>
              <a:gd name="connsiteY26" fmla="*/ 1 h 862390"/>
              <a:gd name="connsiteX27" fmla="*/ 3891248 w 4789284"/>
              <a:gd name="connsiteY27" fmla="*/ 1 h 862390"/>
              <a:gd name="connsiteX28" fmla="*/ 3683018 w 4789284"/>
              <a:gd name="connsiteY28" fmla="*/ 1 h 862390"/>
              <a:gd name="connsiteX29" fmla="*/ 3474788 w 4789284"/>
              <a:gd name="connsiteY29" fmla="*/ 1 h 862390"/>
              <a:gd name="connsiteX30" fmla="*/ 3293720 w 4789284"/>
              <a:gd name="connsiteY30" fmla="*/ 1 h 862390"/>
              <a:gd name="connsiteX31" fmla="*/ 3058330 w 4789284"/>
              <a:gd name="connsiteY31" fmla="*/ 1 h 862390"/>
              <a:gd name="connsiteX32" fmla="*/ 2850100 w 4789284"/>
              <a:gd name="connsiteY32" fmla="*/ 1 h 862390"/>
              <a:gd name="connsiteX33" fmla="*/ 2614710 w 4789284"/>
              <a:gd name="connsiteY33" fmla="*/ 1 h 862390"/>
              <a:gd name="connsiteX34" fmla="*/ 2379320 w 4789284"/>
              <a:gd name="connsiteY34" fmla="*/ 1 h 862390"/>
              <a:gd name="connsiteX35" fmla="*/ 2171090 w 4789284"/>
              <a:gd name="connsiteY35" fmla="*/ 1 h 862390"/>
              <a:gd name="connsiteX36" fmla="*/ 1953807 w 4789284"/>
              <a:gd name="connsiteY36" fmla="*/ 1 h 862390"/>
              <a:gd name="connsiteX37" fmla="*/ 1718417 w 4789284"/>
              <a:gd name="connsiteY37" fmla="*/ 1 h 862390"/>
              <a:gd name="connsiteX38" fmla="*/ 1510187 w 4789284"/>
              <a:gd name="connsiteY38" fmla="*/ 1 h 862390"/>
              <a:gd name="connsiteX39" fmla="*/ 1301957 w 4789284"/>
              <a:gd name="connsiteY39" fmla="*/ 1 h 862390"/>
              <a:gd name="connsiteX40" fmla="*/ 1066568 w 4789284"/>
              <a:gd name="connsiteY40" fmla="*/ 1 h 862390"/>
              <a:gd name="connsiteX41" fmla="*/ 1066567 w 4789284"/>
              <a:gd name="connsiteY41" fmla="*/ 1 h 862390"/>
              <a:gd name="connsiteX42" fmla="*/ 858337 w 4789284"/>
              <a:gd name="connsiteY42" fmla="*/ 1 h 862390"/>
              <a:gd name="connsiteX43" fmla="*/ 650107 w 4789284"/>
              <a:gd name="connsiteY43" fmla="*/ 1 h 862390"/>
              <a:gd name="connsiteX44" fmla="*/ 1078171 w 4789284"/>
              <a:gd name="connsiteY44" fmla="*/ 862390 h 862390"/>
              <a:gd name="connsiteX45" fmla="*/ 428065 w 4789284"/>
              <a:gd name="connsiteY45" fmla="*/ 862390 h 862390"/>
              <a:gd name="connsiteX46" fmla="*/ 0 w 4789284"/>
              <a:gd name="connsiteY46" fmla="*/ 0 h 862390"/>
              <a:gd name="connsiteX0" fmla="*/ 0 w 4789284"/>
              <a:gd name="connsiteY0" fmla="*/ 0 h 862390"/>
              <a:gd name="connsiteX1" fmla="*/ 208230 w 4789284"/>
              <a:gd name="connsiteY1" fmla="*/ 0 h 862390"/>
              <a:gd name="connsiteX2" fmla="*/ 416460 w 4789284"/>
              <a:gd name="connsiteY2" fmla="*/ 0 h 862390"/>
              <a:gd name="connsiteX3" fmla="*/ 416461 w 4789284"/>
              <a:gd name="connsiteY3" fmla="*/ 0 h 862390"/>
              <a:gd name="connsiteX4" fmla="*/ 651850 w 4789284"/>
              <a:gd name="connsiteY4" fmla="*/ 0 h 862390"/>
              <a:gd name="connsiteX5" fmla="*/ 860080 w 4789284"/>
              <a:gd name="connsiteY5" fmla="*/ 0 h 862390"/>
              <a:gd name="connsiteX6" fmla="*/ 1068310 w 4789284"/>
              <a:gd name="connsiteY6" fmla="*/ 0 h 862390"/>
              <a:gd name="connsiteX7" fmla="*/ 1303700 w 4789284"/>
              <a:gd name="connsiteY7" fmla="*/ 0 h 862390"/>
              <a:gd name="connsiteX8" fmla="*/ 1520983 w 4789284"/>
              <a:gd name="connsiteY8" fmla="*/ 0 h 862390"/>
              <a:gd name="connsiteX9" fmla="*/ 1729213 w 4789284"/>
              <a:gd name="connsiteY9" fmla="*/ 0 h 862390"/>
              <a:gd name="connsiteX10" fmla="*/ 1964603 w 4789284"/>
              <a:gd name="connsiteY10" fmla="*/ 0 h 862390"/>
              <a:gd name="connsiteX11" fmla="*/ 2199993 w 4789284"/>
              <a:gd name="connsiteY11" fmla="*/ 0 h 862390"/>
              <a:gd name="connsiteX12" fmla="*/ 2408223 w 4789284"/>
              <a:gd name="connsiteY12" fmla="*/ 0 h 862390"/>
              <a:gd name="connsiteX13" fmla="*/ 2643613 w 4789284"/>
              <a:gd name="connsiteY13" fmla="*/ 0 h 862390"/>
              <a:gd name="connsiteX14" fmla="*/ 2824681 w 4789284"/>
              <a:gd name="connsiteY14" fmla="*/ 0 h 862390"/>
              <a:gd name="connsiteX15" fmla="*/ 3032911 w 4789284"/>
              <a:gd name="connsiteY15" fmla="*/ 0 h 862390"/>
              <a:gd name="connsiteX16" fmla="*/ 3241141 w 4789284"/>
              <a:gd name="connsiteY16" fmla="*/ 0 h 862390"/>
              <a:gd name="connsiteX17" fmla="*/ 3476531 w 4789284"/>
              <a:gd name="connsiteY17" fmla="*/ 0 h 862390"/>
              <a:gd name="connsiteX18" fmla="*/ 3684761 w 4789284"/>
              <a:gd name="connsiteY18" fmla="*/ 0 h 862390"/>
              <a:gd name="connsiteX19" fmla="*/ 3892991 w 4789284"/>
              <a:gd name="connsiteY19" fmla="*/ 0 h 862390"/>
              <a:gd name="connsiteX20" fmla="*/ 4128381 w 4789284"/>
              <a:gd name="connsiteY20" fmla="*/ 0 h 862390"/>
              <a:gd name="connsiteX21" fmla="*/ 4345664 w 4789284"/>
              <a:gd name="connsiteY21" fmla="*/ 0 h 862390"/>
              <a:gd name="connsiteX22" fmla="*/ 4553894 w 4789284"/>
              <a:gd name="connsiteY22" fmla="*/ 0 h 862390"/>
              <a:gd name="connsiteX23" fmla="*/ 4789284 w 4789284"/>
              <a:gd name="connsiteY23" fmla="*/ 0 h 862390"/>
              <a:gd name="connsiteX24" fmla="*/ 4334868 w 4789284"/>
              <a:gd name="connsiteY24" fmla="*/ 1 h 862390"/>
              <a:gd name="connsiteX25" fmla="*/ 4126638 w 4789284"/>
              <a:gd name="connsiteY25" fmla="*/ 1 h 862390"/>
              <a:gd name="connsiteX26" fmla="*/ 3891248 w 4789284"/>
              <a:gd name="connsiteY26" fmla="*/ 1 h 862390"/>
              <a:gd name="connsiteX27" fmla="*/ 3683018 w 4789284"/>
              <a:gd name="connsiteY27" fmla="*/ 1 h 862390"/>
              <a:gd name="connsiteX28" fmla="*/ 3474788 w 4789284"/>
              <a:gd name="connsiteY28" fmla="*/ 1 h 862390"/>
              <a:gd name="connsiteX29" fmla="*/ 3293720 w 4789284"/>
              <a:gd name="connsiteY29" fmla="*/ 1 h 862390"/>
              <a:gd name="connsiteX30" fmla="*/ 3058330 w 4789284"/>
              <a:gd name="connsiteY30" fmla="*/ 1 h 862390"/>
              <a:gd name="connsiteX31" fmla="*/ 2850100 w 4789284"/>
              <a:gd name="connsiteY31" fmla="*/ 1 h 862390"/>
              <a:gd name="connsiteX32" fmla="*/ 2614710 w 4789284"/>
              <a:gd name="connsiteY32" fmla="*/ 1 h 862390"/>
              <a:gd name="connsiteX33" fmla="*/ 2379320 w 4789284"/>
              <a:gd name="connsiteY33" fmla="*/ 1 h 862390"/>
              <a:gd name="connsiteX34" fmla="*/ 2171090 w 4789284"/>
              <a:gd name="connsiteY34" fmla="*/ 1 h 862390"/>
              <a:gd name="connsiteX35" fmla="*/ 1953807 w 4789284"/>
              <a:gd name="connsiteY35" fmla="*/ 1 h 862390"/>
              <a:gd name="connsiteX36" fmla="*/ 1718417 w 4789284"/>
              <a:gd name="connsiteY36" fmla="*/ 1 h 862390"/>
              <a:gd name="connsiteX37" fmla="*/ 1510187 w 4789284"/>
              <a:gd name="connsiteY37" fmla="*/ 1 h 862390"/>
              <a:gd name="connsiteX38" fmla="*/ 1301957 w 4789284"/>
              <a:gd name="connsiteY38" fmla="*/ 1 h 862390"/>
              <a:gd name="connsiteX39" fmla="*/ 1066568 w 4789284"/>
              <a:gd name="connsiteY39" fmla="*/ 1 h 862390"/>
              <a:gd name="connsiteX40" fmla="*/ 1066567 w 4789284"/>
              <a:gd name="connsiteY40" fmla="*/ 1 h 862390"/>
              <a:gd name="connsiteX41" fmla="*/ 858337 w 4789284"/>
              <a:gd name="connsiteY41" fmla="*/ 1 h 862390"/>
              <a:gd name="connsiteX42" fmla="*/ 650107 w 4789284"/>
              <a:gd name="connsiteY42" fmla="*/ 1 h 862390"/>
              <a:gd name="connsiteX43" fmla="*/ 1078171 w 4789284"/>
              <a:gd name="connsiteY43" fmla="*/ 862390 h 862390"/>
              <a:gd name="connsiteX44" fmla="*/ 428065 w 4789284"/>
              <a:gd name="connsiteY44" fmla="*/ 862390 h 862390"/>
              <a:gd name="connsiteX45" fmla="*/ 0 w 4789284"/>
              <a:gd name="connsiteY45" fmla="*/ 0 h 862390"/>
              <a:gd name="connsiteX0" fmla="*/ 0 w 4553894"/>
              <a:gd name="connsiteY0" fmla="*/ 0 h 862390"/>
              <a:gd name="connsiteX1" fmla="*/ 208230 w 4553894"/>
              <a:gd name="connsiteY1" fmla="*/ 0 h 862390"/>
              <a:gd name="connsiteX2" fmla="*/ 416460 w 4553894"/>
              <a:gd name="connsiteY2" fmla="*/ 0 h 862390"/>
              <a:gd name="connsiteX3" fmla="*/ 416461 w 4553894"/>
              <a:gd name="connsiteY3" fmla="*/ 0 h 862390"/>
              <a:gd name="connsiteX4" fmla="*/ 651850 w 4553894"/>
              <a:gd name="connsiteY4" fmla="*/ 0 h 862390"/>
              <a:gd name="connsiteX5" fmla="*/ 860080 w 4553894"/>
              <a:gd name="connsiteY5" fmla="*/ 0 h 862390"/>
              <a:gd name="connsiteX6" fmla="*/ 1068310 w 4553894"/>
              <a:gd name="connsiteY6" fmla="*/ 0 h 862390"/>
              <a:gd name="connsiteX7" fmla="*/ 1303700 w 4553894"/>
              <a:gd name="connsiteY7" fmla="*/ 0 h 862390"/>
              <a:gd name="connsiteX8" fmla="*/ 1520983 w 4553894"/>
              <a:gd name="connsiteY8" fmla="*/ 0 h 862390"/>
              <a:gd name="connsiteX9" fmla="*/ 1729213 w 4553894"/>
              <a:gd name="connsiteY9" fmla="*/ 0 h 862390"/>
              <a:gd name="connsiteX10" fmla="*/ 1964603 w 4553894"/>
              <a:gd name="connsiteY10" fmla="*/ 0 h 862390"/>
              <a:gd name="connsiteX11" fmla="*/ 2199993 w 4553894"/>
              <a:gd name="connsiteY11" fmla="*/ 0 h 862390"/>
              <a:gd name="connsiteX12" fmla="*/ 2408223 w 4553894"/>
              <a:gd name="connsiteY12" fmla="*/ 0 h 862390"/>
              <a:gd name="connsiteX13" fmla="*/ 2643613 w 4553894"/>
              <a:gd name="connsiteY13" fmla="*/ 0 h 862390"/>
              <a:gd name="connsiteX14" fmla="*/ 2824681 w 4553894"/>
              <a:gd name="connsiteY14" fmla="*/ 0 h 862390"/>
              <a:gd name="connsiteX15" fmla="*/ 3032911 w 4553894"/>
              <a:gd name="connsiteY15" fmla="*/ 0 h 862390"/>
              <a:gd name="connsiteX16" fmla="*/ 3241141 w 4553894"/>
              <a:gd name="connsiteY16" fmla="*/ 0 h 862390"/>
              <a:gd name="connsiteX17" fmla="*/ 3476531 w 4553894"/>
              <a:gd name="connsiteY17" fmla="*/ 0 h 862390"/>
              <a:gd name="connsiteX18" fmla="*/ 3684761 w 4553894"/>
              <a:gd name="connsiteY18" fmla="*/ 0 h 862390"/>
              <a:gd name="connsiteX19" fmla="*/ 3892991 w 4553894"/>
              <a:gd name="connsiteY19" fmla="*/ 0 h 862390"/>
              <a:gd name="connsiteX20" fmla="*/ 4128381 w 4553894"/>
              <a:gd name="connsiteY20" fmla="*/ 0 h 862390"/>
              <a:gd name="connsiteX21" fmla="*/ 4345664 w 4553894"/>
              <a:gd name="connsiteY21" fmla="*/ 0 h 862390"/>
              <a:gd name="connsiteX22" fmla="*/ 4553894 w 4553894"/>
              <a:gd name="connsiteY22" fmla="*/ 0 h 862390"/>
              <a:gd name="connsiteX23" fmla="*/ 4334868 w 4553894"/>
              <a:gd name="connsiteY23" fmla="*/ 1 h 862390"/>
              <a:gd name="connsiteX24" fmla="*/ 4126638 w 4553894"/>
              <a:gd name="connsiteY24" fmla="*/ 1 h 862390"/>
              <a:gd name="connsiteX25" fmla="*/ 3891248 w 4553894"/>
              <a:gd name="connsiteY25" fmla="*/ 1 h 862390"/>
              <a:gd name="connsiteX26" fmla="*/ 3683018 w 4553894"/>
              <a:gd name="connsiteY26" fmla="*/ 1 h 862390"/>
              <a:gd name="connsiteX27" fmla="*/ 3474788 w 4553894"/>
              <a:gd name="connsiteY27" fmla="*/ 1 h 862390"/>
              <a:gd name="connsiteX28" fmla="*/ 3293720 w 4553894"/>
              <a:gd name="connsiteY28" fmla="*/ 1 h 862390"/>
              <a:gd name="connsiteX29" fmla="*/ 3058330 w 4553894"/>
              <a:gd name="connsiteY29" fmla="*/ 1 h 862390"/>
              <a:gd name="connsiteX30" fmla="*/ 2850100 w 4553894"/>
              <a:gd name="connsiteY30" fmla="*/ 1 h 862390"/>
              <a:gd name="connsiteX31" fmla="*/ 2614710 w 4553894"/>
              <a:gd name="connsiteY31" fmla="*/ 1 h 862390"/>
              <a:gd name="connsiteX32" fmla="*/ 2379320 w 4553894"/>
              <a:gd name="connsiteY32" fmla="*/ 1 h 862390"/>
              <a:gd name="connsiteX33" fmla="*/ 2171090 w 4553894"/>
              <a:gd name="connsiteY33" fmla="*/ 1 h 862390"/>
              <a:gd name="connsiteX34" fmla="*/ 1953807 w 4553894"/>
              <a:gd name="connsiteY34" fmla="*/ 1 h 862390"/>
              <a:gd name="connsiteX35" fmla="*/ 1718417 w 4553894"/>
              <a:gd name="connsiteY35" fmla="*/ 1 h 862390"/>
              <a:gd name="connsiteX36" fmla="*/ 1510187 w 4553894"/>
              <a:gd name="connsiteY36" fmla="*/ 1 h 862390"/>
              <a:gd name="connsiteX37" fmla="*/ 1301957 w 4553894"/>
              <a:gd name="connsiteY37" fmla="*/ 1 h 862390"/>
              <a:gd name="connsiteX38" fmla="*/ 1066568 w 4553894"/>
              <a:gd name="connsiteY38" fmla="*/ 1 h 862390"/>
              <a:gd name="connsiteX39" fmla="*/ 1066567 w 4553894"/>
              <a:gd name="connsiteY39" fmla="*/ 1 h 862390"/>
              <a:gd name="connsiteX40" fmla="*/ 858337 w 4553894"/>
              <a:gd name="connsiteY40" fmla="*/ 1 h 862390"/>
              <a:gd name="connsiteX41" fmla="*/ 650107 w 4553894"/>
              <a:gd name="connsiteY41" fmla="*/ 1 h 862390"/>
              <a:gd name="connsiteX42" fmla="*/ 1078171 w 4553894"/>
              <a:gd name="connsiteY42" fmla="*/ 862390 h 862390"/>
              <a:gd name="connsiteX43" fmla="*/ 428065 w 4553894"/>
              <a:gd name="connsiteY43" fmla="*/ 862390 h 862390"/>
              <a:gd name="connsiteX44" fmla="*/ 0 w 4553894"/>
              <a:gd name="connsiteY44" fmla="*/ 0 h 862390"/>
              <a:gd name="connsiteX0" fmla="*/ 0 w 4345664"/>
              <a:gd name="connsiteY0" fmla="*/ 0 h 862390"/>
              <a:gd name="connsiteX1" fmla="*/ 208230 w 4345664"/>
              <a:gd name="connsiteY1" fmla="*/ 0 h 862390"/>
              <a:gd name="connsiteX2" fmla="*/ 416460 w 4345664"/>
              <a:gd name="connsiteY2" fmla="*/ 0 h 862390"/>
              <a:gd name="connsiteX3" fmla="*/ 416461 w 4345664"/>
              <a:gd name="connsiteY3" fmla="*/ 0 h 862390"/>
              <a:gd name="connsiteX4" fmla="*/ 651850 w 4345664"/>
              <a:gd name="connsiteY4" fmla="*/ 0 h 862390"/>
              <a:gd name="connsiteX5" fmla="*/ 860080 w 4345664"/>
              <a:gd name="connsiteY5" fmla="*/ 0 h 862390"/>
              <a:gd name="connsiteX6" fmla="*/ 1068310 w 4345664"/>
              <a:gd name="connsiteY6" fmla="*/ 0 h 862390"/>
              <a:gd name="connsiteX7" fmla="*/ 1303700 w 4345664"/>
              <a:gd name="connsiteY7" fmla="*/ 0 h 862390"/>
              <a:gd name="connsiteX8" fmla="*/ 1520983 w 4345664"/>
              <a:gd name="connsiteY8" fmla="*/ 0 h 862390"/>
              <a:gd name="connsiteX9" fmla="*/ 1729213 w 4345664"/>
              <a:gd name="connsiteY9" fmla="*/ 0 h 862390"/>
              <a:gd name="connsiteX10" fmla="*/ 1964603 w 4345664"/>
              <a:gd name="connsiteY10" fmla="*/ 0 h 862390"/>
              <a:gd name="connsiteX11" fmla="*/ 2199993 w 4345664"/>
              <a:gd name="connsiteY11" fmla="*/ 0 h 862390"/>
              <a:gd name="connsiteX12" fmla="*/ 2408223 w 4345664"/>
              <a:gd name="connsiteY12" fmla="*/ 0 h 862390"/>
              <a:gd name="connsiteX13" fmla="*/ 2643613 w 4345664"/>
              <a:gd name="connsiteY13" fmla="*/ 0 h 862390"/>
              <a:gd name="connsiteX14" fmla="*/ 2824681 w 4345664"/>
              <a:gd name="connsiteY14" fmla="*/ 0 h 862390"/>
              <a:gd name="connsiteX15" fmla="*/ 3032911 w 4345664"/>
              <a:gd name="connsiteY15" fmla="*/ 0 h 862390"/>
              <a:gd name="connsiteX16" fmla="*/ 3241141 w 4345664"/>
              <a:gd name="connsiteY16" fmla="*/ 0 h 862390"/>
              <a:gd name="connsiteX17" fmla="*/ 3476531 w 4345664"/>
              <a:gd name="connsiteY17" fmla="*/ 0 h 862390"/>
              <a:gd name="connsiteX18" fmla="*/ 3684761 w 4345664"/>
              <a:gd name="connsiteY18" fmla="*/ 0 h 862390"/>
              <a:gd name="connsiteX19" fmla="*/ 3892991 w 4345664"/>
              <a:gd name="connsiteY19" fmla="*/ 0 h 862390"/>
              <a:gd name="connsiteX20" fmla="*/ 4128381 w 4345664"/>
              <a:gd name="connsiteY20" fmla="*/ 0 h 862390"/>
              <a:gd name="connsiteX21" fmla="*/ 4345664 w 4345664"/>
              <a:gd name="connsiteY21" fmla="*/ 0 h 862390"/>
              <a:gd name="connsiteX22" fmla="*/ 4334868 w 4345664"/>
              <a:gd name="connsiteY22" fmla="*/ 1 h 862390"/>
              <a:gd name="connsiteX23" fmla="*/ 4126638 w 4345664"/>
              <a:gd name="connsiteY23" fmla="*/ 1 h 862390"/>
              <a:gd name="connsiteX24" fmla="*/ 3891248 w 4345664"/>
              <a:gd name="connsiteY24" fmla="*/ 1 h 862390"/>
              <a:gd name="connsiteX25" fmla="*/ 3683018 w 4345664"/>
              <a:gd name="connsiteY25" fmla="*/ 1 h 862390"/>
              <a:gd name="connsiteX26" fmla="*/ 3474788 w 4345664"/>
              <a:gd name="connsiteY26" fmla="*/ 1 h 862390"/>
              <a:gd name="connsiteX27" fmla="*/ 3293720 w 4345664"/>
              <a:gd name="connsiteY27" fmla="*/ 1 h 862390"/>
              <a:gd name="connsiteX28" fmla="*/ 3058330 w 4345664"/>
              <a:gd name="connsiteY28" fmla="*/ 1 h 862390"/>
              <a:gd name="connsiteX29" fmla="*/ 2850100 w 4345664"/>
              <a:gd name="connsiteY29" fmla="*/ 1 h 862390"/>
              <a:gd name="connsiteX30" fmla="*/ 2614710 w 4345664"/>
              <a:gd name="connsiteY30" fmla="*/ 1 h 862390"/>
              <a:gd name="connsiteX31" fmla="*/ 2379320 w 4345664"/>
              <a:gd name="connsiteY31" fmla="*/ 1 h 862390"/>
              <a:gd name="connsiteX32" fmla="*/ 2171090 w 4345664"/>
              <a:gd name="connsiteY32" fmla="*/ 1 h 862390"/>
              <a:gd name="connsiteX33" fmla="*/ 1953807 w 4345664"/>
              <a:gd name="connsiteY33" fmla="*/ 1 h 862390"/>
              <a:gd name="connsiteX34" fmla="*/ 1718417 w 4345664"/>
              <a:gd name="connsiteY34" fmla="*/ 1 h 862390"/>
              <a:gd name="connsiteX35" fmla="*/ 1510187 w 4345664"/>
              <a:gd name="connsiteY35" fmla="*/ 1 h 862390"/>
              <a:gd name="connsiteX36" fmla="*/ 1301957 w 4345664"/>
              <a:gd name="connsiteY36" fmla="*/ 1 h 862390"/>
              <a:gd name="connsiteX37" fmla="*/ 1066568 w 4345664"/>
              <a:gd name="connsiteY37" fmla="*/ 1 h 862390"/>
              <a:gd name="connsiteX38" fmla="*/ 1066567 w 4345664"/>
              <a:gd name="connsiteY38" fmla="*/ 1 h 862390"/>
              <a:gd name="connsiteX39" fmla="*/ 858337 w 4345664"/>
              <a:gd name="connsiteY39" fmla="*/ 1 h 862390"/>
              <a:gd name="connsiteX40" fmla="*/ 650107 w 4345664"/>
              <a:gd name="connsiteY40" fmla="*/ 1 h 862390"/>
              <a:gd name="connsiteX41" fmla="*/ 1078171 w 4345664"/>
              <a:gd name="connsiteY41" fmla="*/ 862390 h 862390"/>
              <a:gd name="connsiteX42" fmla="*/ 428065 w 4345664"/>
              <a:gd name="connsiteY42" fmla="*/ 862390 h 862390"/>
              <a:gd name="connsiteX43" fmla="*/ 0 w 4345664"/>
              <a:gd name="connsiteY43" fmla="*/ 0 h 862390"/>
              <a:gd name="connsiteX0" fmla="*/ 0 w 4345664"/>
              <a:gd name="connsiteY0" fmla="*/ 0 h 862390"/>
              <a:gd name="connsiteX1" fmla="*/ 208230 w 4345664"/>
              <a:gd name="connsiteY1" fmla="*/ 0 h 862390"/>
              <a:gd name="connsiteX2" fmla="*/ 416460 w 4345664"/>
              <a:gd name="connsiteY2" fmla="*/ 0 h 862390"/>
              <a:gd name="connsiteX3" fmla="*/ 416461 w 4345664"/>
              <a:gd name="connsiteY3" fmla="*/ 0 h 862390"/>
              <a:gd name="connsiteX4" fmla="*/ 651850 w 4345664"/>
              <a:gd name="connsiteY4" fmla="*/ 0 h 862390"/>
              <a:gd name="connsiteX5" fmla="*/ 860080 w 4345664"/>
              <a:gd name="connsiteY5" fmla="*/ 0 h 862390"/>
              <a:gd name="connsiteX6" fmla="*/ 1068310 w 4345664"/>
              <a:gd name="connsiteY6" fmla="*/ 0 h 862390"/>
              <a:gd name="connsiteX7" fmla="*/ 1303700 w 4345664"/>
              <a:gd name="connsiteY7" fmla="*/ 0 h 862390"/>
              <a:gd name="connsiteX8" fmla="*/ 1520983 w 4345664"/>
              <a:gd name="connsiteY8" fmla="*/ 0 h 862390"/>
              <a:gd name="connsiteX9" fmla="*/ 1729213 w 4345664"/>
              <a:gd name="connsiteY9" fmla="*/ 0 h 862390"/>
              <a:gd name="connsiteX10" fmla="*/ 1964603 w 4345664"/>
              <a:gd name="connsiteY10" fmla="*/ 0 h 862390"/>
              <a:gd name="connsiteX11" fmla="*/ 2199993 w 4345664"/>
              <a:gd name="connsiteY11" fmla="*/ 0 h 862390"/>
              <a:gd name="connsiteX12" fmla="*/ 2408223 w 4345664"/>
              <a:gd name="connsiteY12" fmla="*/ 0 h 862390"/>
              <a:gd name="connsiteX13" fmla="*/ 2643613 w 4345664"/>
              <a:gd name="connsiteY13" fmla="*/ 0 h 862390"/>
              <a:gd name="connsiteX14" fmla="*/ 2824681 w 4345664"/>
              <a:gd name="connsiteY14" fmla="*/ 0 h 862390"/>
              <a:gd name="connsiteX15" fmla="*/ 3032911 w 4345664"/>
              <a:gd name="connsiteY15" fmla="*/ 0 h 862390"/>
              <a:gd name="connsiteX16" fmla="*/ 3241141 w 4345664"/>
              <a:gd name="connsiteY16" fmla="*/ 0 h 862390"/>
              <a:gd name="connsiteX17" fmla="*/ 3476531 w 4345664"/>
              <a:gd name="connsiteY17" fmla="*/ 0 h 862390"/>
              <a:gd name="connsiteX18" fmla="*/ 3684761 w 4345664"/>
              <a:gd name="connsiteY18" fmla="*/ 0 h 862390"/>
              <a:gd name="connsiteX19" fmla="*/ 3892991 w 4345664"/>
              <a:gd name="connsiteY19" fmla="*/ 0 h 862390"/>
              <a:gd name="connsiteX20" fmla="*/ 4128381 w 4345664"/>
              <a:gd name="connsiteY20" fmla="*/ 0 h 862390"/>
              <a:gd name="connsiteX21" fmla="*/ 4345664 w 4345664"/>
              <a:gd name="connsiteY21" fmla="*/ 0 h 862390"/>
              <a:gd name="connsiteX22" fmla="*/ 4126638 w 4345664"/>
              <a:gd name="connsiteY22" fmla="*/ 1 h 862390"/>
              <a:gd name="connsiteX23" fmla="*/ 3891248 w 4345664"/>
              <a:gd name="connsiteY23" fmla="*/ 1 h 862390"/>
              <a:gd name="connsiteX24" fmla="*/ 3683018 w 4345664"/>
              <a:gd name="connsiteY24" fmla="*/ 1 h 862390"/>
              <a:gd name="connsiteX25" fmla="*/ 3474788 w 4345664"/>
              <a:gd name="connsiteY25" fmla="*/ 1 h 862390"/>
              <a:gd name="connsiteX26" fmla="*/ 3293720 w 4345664"/>
              <a:gd name="connsiteY26" fmla="*/ 1 h 862390"/>
              <a:gd name="connsiteX27" fmla="*/ 3058330 w 4345664"/>
              <a:gd name="connsiteY27" fmla="*/ 1 h 862390"/>
              <a:gd name="connsiteX28" fmla="*/ 2850100 w 4345664"/>
              <a:gd name="connsiteY28" fmla="*/ 1 h 862390"/>
              <a:gd name="connsiteX29" fmla="*/ 2614710 w 4345664"/>
              <a:gd name="connsiteY29" fmla="*/ 1 h 862390"/>
              <a:gd name="connsiteX30" fmla="*/ 2379320 w 4345664"/>
              <a:gd name="connsiteY30" fmla="*/ 1 h 862390"/>
              <a:gd name="connsiteX31" fmla="*/ 2171090 w 4345664"/>
              <a:gd name="connsiteY31" fmla="*/ 1 h 862390"/>
              <a:gd name="connsiteX32" fmla="*/ 1953807 w 4345664"/>
              <a:gd name="connsiteY32" fmla="*/ 1 h 862390"/>
              <a:gd name="connsiteX33" fmla="*/ 1718417 w 4345664"/>
              <a:gd name="connsiteY33" fmla="*/ 1 h 862390"/>
              <a:gd name="connsiteX34" fmla="*/ 1510187 w 4345664"/>
              <a:gd name="connsiteY34" fmla="*/ 1 h 862390"/>
              <a:gd name="connsiteX35" fmla="*/ 1301957 w 4345664"/>
              <a:gd name="connsiteY35" fmla="*/ 1 h 862390"/>
              <a:gd name="connsiteX36" fmla="*/ 1066568 w 4345664"/>
              <a:gd name="connsiteY36" fmla="*/ 1 h 862390"/>
              <a:gd name="connsiteX37" fmla="*/ 1066567 w 4345664"/>
              <a:gd name="connsiteY37" fmla="*/ 1 h 862390"/>
              <a:gd name="connsiteX38" fmla="*/ 858337 w 4345664"/>
              <a:gd name="connsiteY38" fmla="*/ 1 h 862390"/>
              <a:gd name="connsiteX39" fmla="*/ 650107 w 4345664"/>
              <a:gd name="connsiteY39" fmla="*/ 1 h 862390"/>
              <a:gd name="connsiteX40" fmla="*/ 1078171 w 4345664"/>
              <a:gd name="connsiteY40" fmla="*/ 862390 h 862390"/>
              <a:gd name="connsiteX41" fmla="*/ 428065 w 4345664"/>
              <a:gd name="connsiteY41" fmla="*/ 862390 h 862390"/>
              <a:gd name="connsiteX42" fmla="*/ 0 w 4345664"/>
              <a:gd name="connsiteY42" fmla="*/ 0 h 862390"/>
              <a:gd name="connsiteX0" fmla="*/ 0 w 4345664"/>
              <a:gd name="connsiteY0" fmla="*/ 0 h 862390"/>
              <a:gd name="connsiteX1" fmla="*/ 208230 w 4345664"/>
              <a:gd name="connsiteY1" fmla="*/ 0 h 862390"/>
              <a:gd name="connsiteX2" fmla="*/ 416460 w 4345664"/>
              <a:gd name="connsiteY2" fmla="*/ 0 h 862390"/>
              <a:gd name="connsiteX3" fmla="*/ 416461 w 4345664"/>
              <a:gd name="connsiteY3" fmla="*/ 0 h 862390"/>
              <a:gd name="connsiteX4" fmla="*/ 651850 w 4345664"/>
              <a:gd name="connsiteY4" fmla="*/ 0 h 862390"/>
              <a:gd name="connsiteX5" fmla="*/ 860080 w 4345664"/>
              <a:gd name="connsiteY5" fmla="*/ 0 h 862390"/>
              <a:gd name="connsiteX6" fmla="*/ 1068310 w 4345664"/>
              <a:gd name="connsiteY6" fmla="*/ 0 h 862390"/>
              <a:gd name="connsiteX7" fmla="*/ 1303700 w 4345664"/>
              <a:gd name="connsiteY7" fmla="*/ 0 h 862390"/>
              <a:gd name="connsiteX8" fmla="*/ 1520983 w 4345664"/>
              <a:gd name="connsiteY8" fmla="*/ 0 h 862390"/>
              <a:gd name="connsiteX9" fmla="*/ 1729213 w 4345664"/>
              <a:gd name="connsiteY9" fmla="*/ 0 h 862390"/>
              <a:gd name="connsiteX10" fmla="*/ 1964603 w 4345664"/>
              <a:gd name="connsiteY10" fmla="*/ 0 h 862390"/>
              <a:gd name="connsiteX11" fmla="*/ 2199993 w 4345664"/>
              <a:gd name="connsiteY11" fmla="*/ 0 h 862390"/>
              <a:gd name="connsiteX12" fmla="*/ 2408223 w 4345664"/>
              <a:gd name="connsiteY12" fmla="*/ 0 h 862390"/>
              <a:gd name="connsiteX13" fmla="*/ 2643613 w 4345664"/>
              <a:gd name="connsiteY13" fmla="*/ 0 h 862390"/>
              <a:gd name="connsiteX14" fmla="*/ 2824681 w 4345664"/>
              <a:gd name="connsiteY14" fmla="*/ 0 h 862390"/>
              <a:gd name="connsiteX15" fmla="*/ 3032911 w 4345664"/>
              <a:gd name="connsiteY15" fmla="*/ 0 h 862390"/>
              <a:gd name="connsiteX16" fmla="*/ 3241141 w 4345664"/>
              <a:gd name="connsiteY16" fmla="*/ 0 h 862390"/>
              <a:gd name="connsiteX17" fmla="*/ 3476531 w 4345664"/>
              <a:gd name="connsiteY17" fmla="*/ 0 h 862390"/>
              <a:gd name="connsiteX18" fmla="*/ 3684761 w 4345664"/>
              <a:gd name="connsiteY18" fmla="*/ 0 h 862390"/>
              <a:gd name="connsiteX19" fmla="*/ 3892991 w 4345664"/>
              <a:gd name="connsiteY19" fmla="*/ 0 h 862390"/>
              <a:gd name="connsiteX20" fmla="*/ 4128381 w 4345664"/>
              <a:gd name="connsiteY20" fmla="*/ 0 h 862390"/>
              <a:gd name="connsiteX21" fmla="*/ 4345664 w 4345664"/>
              <a:gd name="connsiteY21" fmla="*/ 0 h 862390"/>
              <a:gd name="connsiteX22" fmla="*/ 3891248 w 4345664"/>
              <a:gd name="connsiteY22" fmla="*/ 1 h 862390"/>
              <a:gd name="connsiteX23" fmla="*/ 3683018 w 4345664"/>
              <a:gd name="connsiteY23" fmla="*/ 1 h 862390"/>
              <a:gd name="connsiteX24" fmla="*/ 3474788 w 4345664"/>
              <a:gd name="connsiteY24" fmla="*/ 1 h 862390"/>
              <a:gd name="connsiteX25" fmla="*/ 3293720 w 4345664"/>
              <a:gd name="connsiteY25" fmla="*/ 1 h 862390"/>
              <a:gd name="connsiteX26" fmla="*/ 3058330 w 4345664"/>
              <a:gd name="connsiteY26" fmla="*/ 1 h 862390"/>
              <a:gd name="connsiteX27" fmla="*/ 2850100 w 4345664"/>
              <a:gd name="connsiteY27" fmla="*/ 1 h 862390"/>
              <a:gd name="connsiteX28" fmla="*/ 2614710 w 4345664"/>
              <a:gd name="connsiteY28" fmla="*/ 1 h 862390"/>
              <a:gd name="connsiteX29" fmla="*/ 2379320 w 4345664"/>
              <a:gd name="connsiteY29" fmla="*/ 1 h 862390"/>
              <a:gd name="connsiteX30" fmla="*/ 2171090 w 4345664"/>
              <a:gd name="connsiteY30" fmla="*/ 1 h 862390"/>
              <a:gd name="connsiteX31" fmla="*/ 1953807 w 4345664"/>
              <a:gd name="connsiteY31" fmla="*/ 1 h 862390"/>
              <a:gd name="connsiteX32" fmla="*/ 1718417 w 4345664"/>
              <a:gd name="connsiteY32" fmla="*/ 1 h 862390"/>
              <a:gd name="connsiteX33" fmla="*/ 1510187 w 4345664"/>
              <a:gd name="connsiteY33" fmla="*/ 1 h 862390"/>
              <a:gd name="connsiteX34" fmla="*/ 1301957 w 4345664"/>
              <a:gd name="connsiteY34" fmla="*/ 1 h 862390"/>
              <a:gd name="connsiteX35" fmla="*/ 1066568 w 4345664"/>
              <a:gd name="connsiteY35" fmla="*/ 1 h 862390"/>
              <a:gd name="connsiteX36" fmla="*/ 1066567 w 4345664"/>
              <a:gd name="connsiteY36" fmla="*/ 1 h 862390"/>
              <a:gd name="connsiteX37" fmla="*/ 858337 w 4345664"/>
              <a:gd name="connsiteY37" fmla="*/ 1 h 862390"/>
              <a:gd name="connsiteX38" fmla="*/ 650107 w 4345664"/>
              <a:gd name="connsiteY38" fmla="*/ 1 h 862390"/>
              <a:gd name="connsiteX39" fmla="*/ 1078171 w 4345664"/>
              <a:gd name="connsiteY39" fmla="*/ 862390 h 862390"/>
              <a:gd name="connsiteX40" fmla="*/ 428065 w 4345664"/>
              <a:gd name="connsiteY40" fmla="*/ 862390 h 862390"/>
              <a:gd name="connsiteX41" fmla="*/ 0 w 4345664"/>
              <a:gd name="connsiteY41" fmla="*/ 0 h 862390"/>
              <a:gd name="connsiteX0" fmla="*/ 0 w 4128381"/>
              <a:gd name="connsiteY0" fmla="*/ 0 h 862390"/>
              <a:gd name="connsiteX1" fmla="*/ 208230 w 4128381"/>
              <a:gd name="connsiteY1" fmla="*/ 0 h 862390"/>
              <a:gd name="connsiteX2" fmla="*/ 416460 w 4128381"/>
              <a:gd name="connsiteY2" fmla="*/ 0 h 862390"/>
              <a:gd name="connsiteX3" fmla="*/ 416461 w 4128381"/>
              <a:gd name="connsiteY3" fmla="*/ 0 h 862390"/>
              <a:gd name="connsiteX4" fmla="*/ 651850 w 4128381"/>
              <a:gd name="connsiteY4" fmla="*/ 0 h 862390"/>
              <a:gd name="connsiteX5" fmla="*/ 860080 w 4128381"/>
              <a:gd name="connsiteY5" fmla="*/ 0 h 862390"/>
              <a:gd name="connsiteX6" fmla="*/ 1068310 w 4128381"/>
              <a:gd name="connsiteY6" fmla="*/ 0 h 862390"/>
              <a:gd name="connsiteX7" fmla="*/ 1303700 w 4128381"/>
              <a:gd name="connsiteY7" fmla="*/ 0 h 862390"/>
              <a:gd name="connsiteX8" fmla="*/ 1520983 w 4128381"/>
              <a:gd name="connsiteY8" fmla="*/ 0 h 862390"/>
              <a:gd name="connsiteX9" fmla="*/ 1729213 w 4128381"/>
              <a:gd name="connsiteY9" fmla="*/ 0 h 862390"/>
              <a:gd name="connsiteX10" fmla="*/ 1964603 w 4128381"/>
              <a:gd name="connsiteY10" fmla="*/ 0 h 862390"/>
              <a:gd name="connsiteX11" fmla="*/ 2199993 w 4128381"/>
              <a:gd name="connsiteY11" fmla="*/ 0 h 862390"/>
              <a:gd name="connsiteX12" fmla="*/ 2408223 w 4128381"/>
              <a:gd name="connsiteY12" fmla="*/ 0 h 862390"/>
              <a:gd name="connsiteX13" fmla="*/ 2643613 w 4128381"/>
              <a:gd name="connsiteY13" fmla="*/ 0 h 862390"/>
              <a:gd name="connsiteX14" fmla="*/ 2824681 w 4128381"/>
              <a:gd name="connsiteY14" fmla="*/ 0 h 862390"/>
              <a:gd name="connsiteX15" fmla="*/ 3032911 w 4128381"/>
              <a:gd name="connsiteY15" fmla="*/ 0 h 862390"/>
              <a:gd name="connsiteX16" fmla="*/ 3241141 w 4128381"/>
              <a:gd name="connsiteY16" fmla="*/ 0 h 862390"/>
              <a:gd name="connsiteX17" fmla="*/ 3476531 w 4128381"/>
              <a:gd name="connsiteY17" fmla="*/ 0 h 862390"/>
              <a:gd name="connsiteX18" fmla="*/ 3684761 w 4128381"/>
              <a:gd name="connsiteY18" fmla="*/ 0 h 862390"/>
              <a:gd name="connsiteX19" fmla="*/ 3892991 w 4128381"/>
              <a:gd name="connsiteY19" fmla="*/ 0 h 862390"/>
              <a:gd name="connsiteX20" fmla="*/ 4128381 w 4128381"/>
              <a:gd name="connsiteY20" fmla="*/ 0 h 862390"/>
              <a:gd name="connsiteX21" fmla="*/ 3891248 w 4128381"/>
              <a:gd name="connsiteY21" fmla="*/ 1 h 862390"/>
              <a:gd name="connsiteX22" fmla="*/ 3683018 w 4128381"/>
              <a:gd name="connsiteY22" fmla="*/ 1 h 862390"/>
              <a:gd name="connsiteX23" fmla="*/ 3474788 w 4128381"/>
              <a:gd name="connsiteY23" fmla="*/ 1 h 862390"/>
              <a:gd name="connsiteX24" fmla="*/ 3293720 w 4128381"/>
              <a:gd name="connsiteY24" fmla="*/ 1 h 862390"/>
              <a:gd name="connsiteX25" fmla="*/ 3058330 w 4128381"/>
              <a:gd name="connsiteY25" fmla="*/ 1 h 862390"/>
              <a:gd name="connsiteX26" fmla="*/ 2850100 w 4128381"/>
              <a:gd name="connsiteY26" fmla="*/ 1 h 862390"/>
              <a:gd name="connsiteX27" fmla="*/ 2614710 w 4128381"/>
              <a:gd name="connsiteY27" fmla="*/ 1 h 862390"/>
              <a:gd name="connsiteX28" fmla="*/ 2379320 w 4128381"/>
              <a:gd name="connsiteY28" fmla="*/ 1 h 862390"/>
              <a:gd name="connsiteX29" fmla="*/ 2171090 w 4128381"/>
              <a:gd name="connsiteY29" fmla="*/ 1 h 862390"/>
              <a:gd name="connsiteX30" fmla="*/ 1953807 w 4128381"/>
              <a:gd name="connsiteY30" fmla="*/ 1 h 862390"/>
              <a:gd name="connsiteX31" fmla="*/ 1718417 w 4128381"/>
              <a:gd name="connsiteY31" fmla="*/ 1 h 862390"/>
              <a:gd name="connsiteX32" fmla="*/ 1510187 w 4128381"/>
              <a:gd name="connsiteY32" fmla="*/ 1 h 862390"/>
              <a:gd name="connsiteX33" fmla="*/ 1301957 w 4128381"/>
              <a:gd name="connsiteY33" fmla="*/ 1 h 862390"/>
              <a:gd name="connsiteX34" fmla="*/ 1066568 w 4128381"/>
              <a:gd name="connsiteY34" fmla="*/ 1 h 862390"/>
              <a:gd name="connsiteX35" fmla="*/ 1066567 w 4128381"/>
              <a:gd name="connsiteY35" fmla="*/ 1 h 862390"/>
              <a:gd name="connsiteX36" fmla="*/ 858337 w 4128381"/>
              <a:gd name="connsiteY36" fmla="*/ 1 h 862390"/>
              <a:gd name="connsiteX37" fmla="*/ 650107 w 4128381"/>
              <a:gd name="connsiteY37" fmla="*/ 1 h 862390"/>
              <a:gd name="connsiteX38" fmla="*/ 1078171 w 4128381"/>
              <a:gd name="connsiteY38" fmla="*/ 862390 h 862390"/>
              <a:gd name="connsiteX39" fmla="*/ 428065 w 4128381"/>
              <a:gd name="connsiteY39" fmla="*/ 862390 h 862390"/>
              <a:gd name="connsiteX40" fmla="*/ 0 w 4128381"/>
              <a:gd name="connsiteY40" fmla="*/ 0 h 862390"/>
              <a:gd name="connsiteX0" fmla="*/ 0 w 3892991"/>
              <a:gd name="connsiteY0" fmla="*/ 0 h 862390"/>
              <a:gd name="connsiteX1" fmla="*/ 208230 w 3892991"/>
              <a:gd name="connsiteY1" fmla="*/ 0 h 862390"/>
              <a:gd name="connsiteX2" fmla="*/ 416460 w 3892991"/>
              <a:gd name="connsiteY2" fmla="*/ 0 h 862390"/>
              <a:gd name="connsiteX3" fmla="*/ 416461 w 3892991"/>
              <a:gd name="connsiteY3" fmla="*/ 0 h 862390"/>
              <a:gd name="connsiteX4" fmla="*/ 651850 w 3892991"/>
              <a:gd name="connsiteY4" fmla="*/ 0 h 862390"/>
              <a:gd name="connsiteX5" fmla="*/ 860080 w 3892991"/>
              <a:gd name="connsiteY5" fmla="*/ 0 h 862390"/>
              <a:gd name="connsiteX6" fmla="*/ 1068310 w 3892991"/>
              <a:gd name="connsiteY6" fmla="*/ 0 h 862390"/>
              <a:gd name="connsiteX7" fmla="*/ 1303700 w 3892991"/>
              <a:gd name="connsiteY7" fmla="*/ 0 h 862390"/>
              <a:gd name="connsiteX8" fmla="*/ 1520983 w 3892991"/>
              <a:gd name="connsiteY8" fmla="*/ 0 h 862390"/>
              <a:gd name="connsiteX9" fmla="*/ 1729213 w 3892991"/>
              <a:gd name="connsiteY9" fmla="*/ 0 h 862390"/>
              <a:gd name="connsiteX10" fmla="*/ 1964603 w 3892991"/>
              <a:gd name="connsiteY10" fmla="*/ 0 h 862390"/>
              <a:gd name="connsiteX11" fmla="*/ 2199993 w 3892991"/>
              <a:gd name="connsiteY11" fmla="*/ 0 h 862390"/>
              <a:gd name="connsiteX12" fmla="*/ 2408223 w 3892991"/>
              <a:gd name="connsiteY12" fmla="*/ 0 h 862390"/>
              <a:gd name="connsiteX13" fmla="*/ 2643613 w 3892991"/>
              <a:gd name="connsiteY13" fmla="*/ 0 h 862390"/>
              <a:gd name="connsiteX14" fmla="*/ 2824681 w 3892991"/>
              <a:gd name="connsiteY14" fmla="*/ 0 h 862390"/>
              <a:gd name="connsiteX15" fmla="*/ 3032911 w 3892991"/>
              <a:gd name="connsiteY15" fmla="*/ 0 h 862390"/>
              <a:gd name="connsiteX16" fmla="*/ 3241141 w 3892991"/>
              <a:gd name="connsiteY16" fmla="*/ 0 h 862390"/>
              <a:gd name="connsiteX17" fmla="*/ 3476531 w 3892991"/>
              <a:gd name="connsiteY17" fmla="*/ 0 h 862390"/>
              <a:gd name="connsiteX18" fmla="*/ 3684761 w 3892991"/>
              <a:gd name="connsiteY18" fmla="*/ 0 h 862390"/>
              <a:gd name="connsiteX19" fmla="*/ 3892991 w 3892991"/>
              <a:gd name="connsiteY19" fmla="*/ 0 h 862390"/>
              <a:gd name="connsiteX20" fmla="*/ 3891248 w 3892991"/>
              <a:gd name="connsiteY20" fmla="*/ 1 h 862390"/>
              <a:gd name="connsiteX21" fmla="*/ 3683018 w 3892991"/>
              <a:gd name="connsiteY21" fmla="*/ 1 h 862390"/>
              <a:gd name="connsiteX22" fmla="*/ 3474788 w 3892991"/>
              <a:gd name="connsiteY22" fmla="*/ 1 h 862390"/>
              <a:gd name="connsiteX23" fmla="*/ 3293720 w 3892991"/>
              <a:gd name="connsiteY23" fmla="*/ 1 h 862390"/>
              <a:gd name="connsiteX24" fmla="*/ 3058330 w 3892991"/>
              <a:gd name="connsiteY24" fmla="*/ 1 h 862390"/>
              <a:gd name="connsiteX25" fmla="*/ 2850100 w 3892991"/>
              <a:gd name="connsiteY25" fmla="*/ 1 h 862390"/>
              <a:gd name="connsiteX26" fmla="*/ 2614710 w 3892991"/>
              <a:gd name="connsiteY26" fmla="*/ 1 h 862390"/>
              <a:gd name="connsiteX27" fmla="*/ 2379320 w 3892991"/>
              <a:gd name="connsiteY27" fmla="*/ 1 h 862390"/>
              <a:gd name="connsiteX28" fmla="*/ 2171090 w 3892991"/>
              <a:gd name="connsiteY28" fmla="*/ 1 h 862390"/>
              <a:gd name="connsiteX29" fmla="*/ 1953807 w 3892991"/>
              <a:gd name="connsiteY29" fmla="*/ 1 h 862390"/>
              <a:gd name="connsiteX30" fmla="*/ 1718417 w 3892991"/>
              <a:gd name="connsiteY30" fmla="*/ 1 h 862390"/>
              <a:gd name="connsiteX31" fmla="*/ 1510187 w 3892991"/>
              <a:gd name="connsiteY31" fmla="*/ 1 h 862390"/>
              <a:gd name="connsiteX32" fmla="*/ 1301957 w 3892991"/>
              <a:gd name="connsiteY32" fmla="*/ 1 h 862390"/>
              <a:gd name="connsiteX33" fmla="*/ 1066568 w 3892991"/>
              <a:gd name="connsiteY33" fmla="*/ 1 h 862390"/>
              <a:gd name="connsiteX34" fmla="*/ 1066567 w 3892991"/>
              <a:gd name="connsiteY34" fmla="*/ 1 h 862390"/>
              <a:gd name="connsiteX35" fmla="*/ 858337 w 3892991"/>
              <a:gd name="connsiteY35" fmla="*/ 1 h 862390"/>
              <a:gd name="connsiteX36" fmla="*/ 650107 w 3892991"/>
              <a:gd name="connsiteY36" fmla="*/ 1 h 862390"/>
              <a:gd name="connsiteX37" fmla="*/ 1078171 w 3892991"/>
              <a:gd name="connsiteY37" fmla="*/ 862390 h 862390"/>
              <a:gd name="connsiteX38" fmla="*/ 428065 w 3892991"/>
              <a:gd name="connsiteY38" fmla="*/ 862390 h 862390"/>
              <a:gd name="connsiteX39" fmla="*/ 0 w 3892991"/>
              <a:gd name="connsiteY39" fmla="*/ 0 h 862390"/>
              <a:gd name="connsiteX0" fmla="*/ 0 w 3892991"/>
              <a:gd name="connsiteY0" fmla="*/ 0 h 862390"/>
              <a:gd name="connsiteX1" fmla="*/ 208230 w 3892991"/>
              <a:gd name="connsiteY1" fmla="*/ 0 h 862390"/>
              <a:gd name="connsiteX2" fmla="*/ 416460 w 3892991"/>
              <a:gd name="connsiteY2" fmla="*/ 0 h 862390"/>
              <a:gd name="connsiteX3" fmla="*/ 416461 w 3892991"/>
              <a:gd name="connsiteY3" fmla="*/ 0 h 862390"/>
              <a:gd name="connsiteX4" fmla="*/ 651850 w 3892991"/>
              <a:gd name="connsiteY4" fmla="*/ 0 h 862390"/>
              <a:gd name="connsiteX5" fmla="*/ 860080 w 3892991"/>
              <a:gd name="connsiteY5" fmla="*/ 0 h 862390"/>
              <a:gd name="connsiteX6" fmla="*/ 1068310 w 3892991"/>
              <a:gd name="connsiteY6" fmla="*/ 0 h 862390"/>
              <a:gd name="connsiteX7" fmla="*/ 1303700 w 3892991"/>
              <a:gd name="connsiteY7" fmla="*/ 0 h 862390"/>
              <a:gd name="connsiteX8" fmla="*/ 1520983 w 3892991"/>
              <a:gd name="connsiteY8" fmla="*/ 0 h 862390"/>
              <a:gd name="connsiteX9" fmla="*/ 1729213 w 3892991"/>
              <a:gd name="connsiteY9" fmla="*/ 0 h 862390"/>
              <a:gd name="connsiteX10" fmla="*/ 1964603 w 3892991"/>
              <a:gd name="connsiteY10" fmla="*/ 0 h 862390"/>
              <a:gd name="connsiteX11" fmla="*/ 2199993 w 3892991"/>
              <a:gd name="connsiteY11" fmla="*/ 0 h 862390"/>
              <a:gd name="connsiteX12" fmla="*/ 2408223 w 3892991"/>
              <a:gd name="connsiteY12" fmla="*/ 0 h 862390"/>
              <a:gd name="connsiteX13" fmla="*/ 2643613 w 3892991"/>
              <a:gd name="connsiteY13" fmla="*/ 0 h 862390"/>
              <a:gd name="connsiteX14" fmla="*/ 2824681 w 3892991"/>
              <a:gd name="connsiteY14" fmla="*/ 0 h 862390"/>
              <a:gd name="connsiteX15" fmla="*/ 3032911 w 3892991"/>
              <a:gd name="connsiteY15" fmla="*/ 0 h 862390"/>
              <a:gd name="connsiteX16" fmla="*/ 3241141 w 3892991"/>
              <a:gd name="connsiteY16" fmla="*/ 0 h 862390"/>
              <a:gd name="connsiteX17" fmla="*/ 3476531 w 3892991"/>
              <a:gd name="connsiteY17" fmla="*/ 0 h 862390"/>
              <a:gd name="connsiteX18" fmla="*/ 3684761 w 3892991"/>
              <a:gd name="connsiteY18" fmla="*/ 0 h 862390"/>
              <a:gd name="connsiteX19" fmla="*/ 3892991 w 3892991"/>
              <a:gd name="connsiteY19" fmla="*/ 0 h 862390"/>
              <a:gd name="connsiteX20" fmla="*/ 3683018 w 3892991"/>
              <a:gd name="connsiteY20" fmla="*/ 1 h 862390"/>
              <a:gd name="connsiteX21" fmla="*/ 3474788 w 3892991"/>
              <a:gd name="connsiteY21" fmla="*/ 1 h 862390"/>
              <a:gd name="connsiteX22" fmla="*/ 3293720 w 3892991"/>
              <a:gd name="connsiteY22" fmla="*/ 1 h 862390"/>
              <a:gd name="connsiteX23" fmla="*/ 3058330 w 3892991"/>
              <a:gd name="connsiteY23" fmla="*/ 1 h 862390"/>
              <a:gd name="connsiteX24" fmla="*/ 2850100 w 3892991"/>
              <a:gd name="connsiteY24" fmla="*/ 1 h 862390"/>
              <a:gd name="connsiteX25" fmla="*/ 2614710 w 3892991"/>
              <a:gd name="connsiteY25" fmla="*/ 1 h 862390"/>
              <a:gd name="connsiteX26" fmla="*/ 2379320 w 3892991"/>
              <a:gd name="connsiteY26" fmla="*/ 1 h 862390"/>
              <a:gd name="connsiteX27" fmla="*/ 2171090 w 3892991"/>
              <a:gd name="connsiteY27" fmla="*/ 1 h 862390"/>
              <a:gd name="connsiteX28" fmla="*/ 1953807 w 3892991"/>
              <a:gd name="connsiteY28" fmla="*/ 1 h 862390"/>
              <a:gd name="connsiteX29" fmla="*/ 1718417 w 3892991"/>
              <a:gd name="connsiteY29" fmla="*/ 1 h 862390"/>
              <a:gd name="connsiteX30" fmla="*/ 1510187 w 3892991"/>
              <a:gd name="connsiteY30" fmla="*/ 1 h 862390"/>
              <a:gd name="connsiteX31" fmla="*/ 1301957 w 3892991"/>
              <a:gd name="connsiteY31" fmla="*/ 1 h 862390"/>
              <a:gd name="connsiteX32" fmla="*/ 1066568 w 3892991"/>
              <a:gd name="connsiteY32" fmla="*/ 1 h 862390"/>
              <a:gd name="connsiteX33" fmla="*/ 1066567 w 3892991"/>
              <a:gd name="connsiteY33" fmla="*/ 1 h 862390"/>
              <a:gd name="connsiteX34" fmla="*/ 858337 w 3892991"/>
              <a:gd name="connsiteY34" fmla="*/ 1 h 862390"/>
              <a:gd name="connsiteX35" fmla="*/ 650107 w 3892991"/>
              <a:gd name="connsiteY35" fmla="*/ 1 h 862390"/>
              <a:gd name="connsiteX36" fmla="*/ 1078171 w 3892991"/>
              <a:gd name="connsiteY36" fmla="*/ 862390 h 862390"/>
              <a:gd name="connsiteX37" fmla="*/ 428065 w 3892991"/>
              <a:gd name="connsiteY37" fmla="*/ 862390 h 862390"/>
              <a:gd name="connsiteX38" fmla="*/ 0 w 3892991"/>
              <a:gd name="connsiteY38" fmla="*/ 0 h 862390"/>
              <a:gd name="connsiteX0" fmla="*/ 0 w 3892991"/>
              <a:gd name="connsiteY0" fmla="*/ 0 h 862390"/>
              <a:gd name="connsiteX1" fmla="*/ 208230 w 3892991"/>
              <a:gd name="connsiteY1" fmla="*/ 0 h 862390"/>
              <a:gd name="connsiteX2" fmla="*/ 416460 w 3892991"/>
              <a:gd name="connsiteY2" fmla="*/ 0 h 862390"/>
              <a:gd name="connsiteX3" fmla="*/ 416461 w 3892991"/>
              <a:gd name="connsiteY3" fmla="*/ 0 h 862390"/>
              <a:gd name="connsiteX4" fmla="*/ 651850 w 3892991"/>
              <a:gd name="connsiteY4" fmla="*/ 0 h 862390"/>
              <a:gd name="connsiteX5" fmla="*/ 860080 w 3892991"/>
              <a:gd name="connsiteY5" fmla="*/ 0 h 862390"/>
              <a:gd name="connsiteX6" fmla="*/ 1068310 w 3892991"/>
              <a:gd name="connsiteY6" fmla="*/ 0 h 862390"/>
              <a:gd name="connsiteX7" fmla="*/ 1303700 w 3892991"/>
              <a:gd name="connsiteY7" fmla="*/ 0 h 862390"/>
              <a:gd name="connsiteX8" fmla="*/ 1520983 w 3892991"/>
              <a:gd name="connsiteY8" fmla="*/ 0 h 862390"/>
              <a:gd name="connsiteX9" fmla="*/ 1729213 w 3892991"/>
              <a:gd name="connsiteY9" fmla="*/ 0 h 862390"/>
              <a:gd name="connsiteX10" fmla="*/ 1964603 w 3892991"/>
              <a:gd name="connsiteY10" fmla="*/ 0 h 862390"/>
              <a:gd name="connsiteX11" fmla="*/ 2199993 w 3892991"/>
              <a:gd name="connsiteY11" fmla="*/ 0 h 862390"/>
              <a:gd name="connsiteX12" fmla="*/ 2408223 w 3892991"/>
              <a:gd name="connsiteY12" fmla="*/ 0 h 862390"/>
              <a:gd name="connsiteX13" fmla="*/ 2643613 w 3892991"/>
              <a:gd name="connsiteY13" fmla="*/ 0 h 862390"/>
              <a:gd name="connsiteX14" fmla="*/ 2824681 w 3892991"/>
              <a:gd name="connsiteY14" fmla="*/ 0 h 862390"/>
              <a:gd name="connsiteX15" fmla="*/ 3032911 w 3892991"/>
              <a:gd name="connsiteY15" fmla="*/ 0 h 862390"/>
              <a:gd name="connsiteX16" fmla="*/ 3241141 w 3892991"/>
              <a:gd name="connsiteY16" fmla="*/ 0 h 862390"/>
              <a:gd name="connsiteX17" fmla="*/ 3476531 w 3892991"/>
              <a:gd name="connsiteY17" fmla="*/ 0 h 862390"/>
              <a:gd name="connsiteX18" fmla="*/ 3684761 w 3892991"/>
              <a:gd name="connsiteY18" fmla="*/ 0 h 862390"/>
              <a:gd name="connsiteX19" fmla="*/ 3892991 w 3892991"/>
              <a:gd name="connsiteY19" fmla="*/ 0 h 862390"/>
              <a:gd name="connsiteX20" fmla="*/ 3474788 w 3892991"/>
              <a:gd name="connsiteY20" fmla="*/ 1 h 862390"/>
              <a:gd name="connsiteX21" fmla="*/ 3293720 w 3892991"/>
              <a:gd name="connsiteY21" fmla="*/ 1 h 862390"/>
              <a:gd name="connsiteX22" fmla="*/ 3058330 w 3892991"/>
              <a:gd name="connsiteY22" fmla="*/ 1 h 862390"/>
              <a:gd name="connsiteX23" fmla="*/ 2850100 w 3892991"/>
              <a:gd name="connsiteY23" fmla="*/ 1 h 862390"/>
              <a:gd name="connsiteX24" fmla="*/ 2614710 w 3892991"/>
              <a:gd name="connsiteY24" fmla="*/ 1 h 862390"/>
              <a:gd name="connsiteX25" fmla="*/ 2379320 w 3892991"/>
              <a:gd name="connsiteY25" fmla="*/ 1 h 862390"/>
              <a:gd name="connsiteX26" fmla="*/ 2171090 w 3892991"/>
              <a:gd name="connsiteY26" fmla="*/ 1 h 862390"/>
              <a:gd name="connsiteX27" fmla="*/ 1953807 w 3892991"/>
              <a:gd name="connsiteY27" fmla="*/ 1 h 862390"/>
              <a:gd name="connsiteX28" fmla="*/ 1718417 w 3892991"/>
              <a:gd name="connsiteY28" fmla="*/ 1 h 862390"/>
              <a:gd name="connsiteX29" fmla="*/ 1510187 w 3892991"/>
              <a:gd name="connsiteY29" fmla="*/ 1 h 862390"/>
              <a:gd name="connsiteX30" fmla="*/ 1301957 w 3892991"/>
              <a:gd name="connsiteY30" fmla="*/ 1 h 862390"/>
              <a:gd name="connsiteX31" fmla="*/ 1066568 w 3892991"/>
              <a:gd name="connsiteY31" fmla="*/ 1 h 862390"/>
              <a:gd name="connsiteX32" fmla="*/ 1066567 w 3892991"/>
              <a:gd name="connsiteY32" fmla="*/ 1 h 862390"/>
              <a:gd name="connsiteX33" fmla="*/ 858337 w 3892991"/>
              <a:gd name="connsiteY33" fmla="*/ 1 h 862390"/>
              <a:gd name="connsiteX34" fmla="*/ 650107 w 3892991"/>
              <a:gd name="connsiteY34" fmla="*/ 1 h 862390"/>
              <a:gd name="connsiteX35" fmla="*/ 1078171 w 3892991"/>
              <a:gd name="connsiteY35" fmla="*/ 862390 h 862390"/>
              <a:gd name="connsiteX36" fmla="*/ 428065 w 3892991"/>
              <a:gd name="connsiteY36" fmla="*/ 862390 h 862390"/>
              <a:gd name="connsiteX37" fmla="*/ 0 w 3892991"/>
              <a:gd name="connsiteY37" fmla="*/ 0 h 862390"/>
              <a:gd name="connsiteX0" fmla="*/ 0 w 3684761"/>
              <a:gd name="connsiteY0" fmla="*/ 0 h 862390"/>
              <a:gd name="connsiteX1" fmla="*/ 208230 w 3684761"/>
              <a:gd name="connsiteY1" fmla="*/ 0 h 862390"/>
              <a:gd name="connsiteX2" fmla="*/ 416460 w 3684761"/>
              <a:gd name="connsiteY2" fmla="*/ 0 h 862390"/>
              <a:gd name="connsiteX3" fmla="*/ 416461 w 3684761"/>
              <a:gd name="connsiteY3" fmla="*/ 0 h 862390"/>
              <a:gd name="connsiteX4" fmla="*/ 651850 w 3684761"/>
              <a:gd name="connsiteY4" fmla="*/ 0 h 862390"/>
              <a:gd name="connsiteX5" fmla="*/ 860080 w 3684761"/>
              <a:gd name="connsiteY5" fmla="*/ 0 h 862390"/>
              <a:gd name="connsiteX6" fmla="*/ 1068310 w 3684761"/>
              <a:gd name="connsiteY6" fmla="*/ 0 h 862390"/>
              <a:gd name="connsiteX7" fmla="*/ 1303700 w 3684761"/>
              <a:gd name="connsiteY7" fmla="*/ 0 h 862390"/>
              <a:gd name="connsiteX8" fmla="*/ 1520983 w 3684761"/>
              <a:gd name="connsiteY8" fmla="*/ 0 h 862390"/>
              <a:gd name="connsiteX9" fmla="*/ 1729213 w 3684761"/>
              <a:gd name="connsiteY9" fmla="*/ 0 h 862390"/>
              <a:gd name="connsiteX10" fmla="*/ 1964603 w 3684761"/>
              <a:gd name="connsiteY10" fmla="*/ 0 h 862390"/>
              <a:gd name="connsiteX11" fmla="*/ 2199993 w 3684761"/>
              <a:gd name="connsiteY11" fmla="*/ 0 h 862390"/>
              <a:gd name="connsiteX12" fmla="*/ 2408223 w 3684761"/>
              <a:gd name="connsiteY12" fmla="*/ 0 h 862390"/>
              <a:gd name="connsiteX13" fmla="*/ 2643613 w 3684761"/>
              <a:gd name="connsiteY13" fmla="*/ 0 h 862390"/>
              <a:gd name="connsiteX14" fmla="*/ 2824681 w 3684761"/>
              <a:gd name="connsiteY14" fmla="*/ 0 h 862390"/>
              <a:gd name="connsiteX15" fmla="*/ 3032911 w 3684761"/>
              <a:gd name="connsiteY15" fmla="*/ 0 h 862390"/>
              <a:gd name="connsiteX16" fmla="*/ 3241141 w 3684761"/>
              <a:gd name="connsiteY16" fmla="*/ 0 h 862390"/>
              <a:gd name="connsiteX17" fmla="*/ 3476531 w 3684761"/>
              <a:gd name="connsiteY17" fmla="*/ 0 h 862390"/>
              <a:gd name="connsiteX18" fmla="*/ 3684761 w 3684761"/>
              <a:gd name="connsiteY18" fmla="*/ 0 h 862390"/>
              <a:gd name="connsiteX19" fmla="*/ 3474788 w 3684761"/>
              <a:gd name="connsiteY19" fmla="*/ 1 h 862390"/>
              <a:gd name="connsiteX20" fmla="*/ 3293720 w 3684761"/>
              <a:gd name="connsiteY20" fmla="*/ 1 h 862390"/>
              <a:gd name="connsiteX21" fmla="*/ 3058330 w 3684761"/>
              <a:gd name="connsiteY21" fmla="*/ 1 h 862390"/>
              <a:gd name="connsiteX22" fmla="*/ 2850100 w 3684761"/>
              <a:gd name="connsiteY22" fmla="*/ 1 h 862390"/>
              <a:gd name="connsiteX23" fmla="*/ 2614710 w 3684761"/>
              <a:gd name="connsiteY23" fmla="*/ 1 h 862390"/>
              <a:gd name="connsiteX24" fmla="*/ 2379320 w 3684761"/>
              <a:gd name="connsiteY24" fmla="*/ 1 h 862390"/>
              <a:gd name="connsiteX25" fmla="*/ 2171090 w 3684761"/>
              <a:gd name="connsiteY25" fmla="*/ 1 h 862390"/>
              <a:gd name="connsiteX26" fmla="*/ 1953807 w 3684761"/>
              <a:gd name="connsiteY26" fmla="*/ 1 h 862390"/>
              <a:gd name="connsiteX27" fmla="*/ 1718417 w 3684761"/>
              <a:gd name="connsiteY27" fmla="*/ 1 h 862390"/>
              <a:gd name="connsiteX28" fmla="*/ 1510187 w 3684761"/>
              <a:gd name="connsiteY28" fmla="*/ 1 h 862390"/>
              <a:gd name="connsiteX29" fmla="*/ 1301957 w 3684761"/>
              <a:gd name="connsiteY29" fmla="*/ 1 h 862390"/>
              <a:gd name="connsiteX30" fmla="*/ 1066568 w 3684761"/>
              <a:gd name="connsiteY30" fmla="*/ 1 h 862390"/>
              <a:gd name="connsiteX31" fmla="*/ 1066567 w 3684761"/>
              <a:gd name="connsiteY31" fmla="*/ 1 h 862390"/>
              <a:gd name="connsiteX32" fmla="*/ 858337 w 3684761"/>
              <a:gd name="connsiteY32" fmla="*/ 1 h 862390"/>
              <a:gd name="connsiteX33" fmla="*/ 650107 w 3684761"/>
              <a:gd name="connsiteY33" fmla="*/ 1 h 862390"/>
              <a:gd name="connsiteX34" fmla="*/ 1078171 w 3684761"/>
              <a:gd name="connsiteY34" fmla="*/ 862390 h 862390"/>
              <a:gd name="connsiteX35" fmla="*/ 428065 w 3684761"/>
              <a:gd name="connsiteY35" fmla="*/ 862390 h 862390"/>
              <a:gd name="connsiteX36" fmla="*/ 0 w 3684761"/>
              <a:gd name="connsiteY36" fmla="*/ 0 h 862390"/>
              <a:gd name="connsiteX0" fmla="*/ 0 w 3476531"/>
              <a:gd name="connsiteY0" fmla="*/ 0 h 862390"/>
              <a:gd name="connsiteX1" fmla="*/ 208230 w 3476531"/>
              <a:gd name="connsiteY1" fmla="*/ 0 h 862390"/>
              <a:gd name="connsiteX2" fmla="*/ 416460 w 3476531"/>
              <a:gd name="connsiteY2" fmla="*/ 0 h 862390"/>
              <a:gd name="connsiteX3" fmla="*/ 416461 w 3476531"/>
              <a:gd name="connsiteY3" fmla="*/ 0 h 862390"/>
              <a:gd name="connsiteX4" fmla="*/ 651850 w 3476531"/>
              <a:gd name="connsiteY4" fmla="*/ 0 h 862390"/>
              <a:gd name="connsiteX5" fmla="*/ 860080 w 3476531"/>
              <a:gd name="connsiteY5" fmla="*/ 0 h 862390"/>
              <a:gd name="connsiteX6" fmla="*/ 1068310 w 3476531"/>
              <a:gd name="connsiteY6" fmla="*/ 0 h 862390"/>
              <a:gd name="connsiteX7" fmla="*/ 1303700 w 3476531"/>
              <a:gd name="connsiteY7" fmla="*/ 0 h 862390"/>
              <a:gd name="connsiteX8" fmla="*/ 1520983 w 3476531"/>
              <a:gd name="connsiteY8" fmla="*/ 0 h 862390"/>
              <a:gd name="connsiteX9" fmla="*/ 1729213 w 3476531"/>
              <a:gd name="connsiteY9" fmla="*/ 0 h 862390"/>
              <a:gd name="connsiteX10" fmla="*/ 1964603 w 3476531"/>
              <a:gd name="connsiteY10" fmla="*/ 0 h 862390"/>
              <a:gd name="connsiteX11" fmla="*/ 2199993 w 3476531"/>
              <a:gd name="connsiteY11" fmla="*/ 0 h 862390"/>
              <a:gd name="connsiteX12" fmla="*/ 2408223 w 3476531"/>
              <a:gd name="connsiteY12" fmla="*/ 0 h 862390"/>
              <a:gd name="connsiteX13" fmla="*/ 2643613 w 3476531"/>
              <a:gd name="connsiteY13" fmla="*/ 0 h 862390"/>
              <a:gd name="connsiteX14" fmla="*/ 2824681 w 3476531"/>
              <a:gd name="connsiteY14" fmla="*/ 0 h 862390"/>
              <a:gd name="connsiteX15" fmla="*/ 3032911 w 3476531"/>
              <a:gd name="connsiteY15" fmla="*/ 0 h 862390"/>
              <a:gd name="connsiteX16" fmla="*/ 3241141 w 3476531"/>
              <a:gd name="connsiteY16" fmla="*/ 0 h 862390"/>
              <a:gd name="connsiteX17" fmla="*/ 3476531 w 3476531"/>
              <a:gd name="connsiteY17" fmla="*/ 0 h 862390"/>
              <a:gd name="connsiteX18" fmla="*/ 3474788 w 3476531"/>
              <a:gd name="connsiteY18" fmla="*/ 1 h 862390"/>
              <a:gd name="connsiteX19" fmla="*/ 3293720 w 3476531"/>
              <a:gd name="connsiteY19" fmla="*/ 1 h 862390"/>
              <a:gd name="connsiteX20" fmla="*/ 3058330 w 3476531"/>
              <a:gd name="connsiteY20" fmla="*/ 1 h 862390"/>
              <a:gd name="connsiteX21" fmla="*/ 2850100 w 3476531"/>
              <a:gd name="connsiteY21" fmla="*/ 1 h 862390"/>
              <a:gd name="connsiteX22" fmla="*/ 2614710 w 3476531"/>
              <a:gd name="connsiteY22" fmla="*/ 1 h 862390"/>
              <a:gd name="connsiteX23" fmla="*/ 2379320 w 3476531"/>
              <a:gd name="connsiteY23" fmla="*/ 1 h 862390"/>
              <a:gd name="connsiteX24" fmla="*/ 2171090 w 3476531"/>
              <a:gd name="connsiteY24" fmla="*/ 1 h 862390"/>
              <a:gd name="connsiteX25" fmla="*/ 1953807 w 3476531"/>
              <a:gd name="connsiteY25" fmla="*/ 1 h 862390"/>
              <a:gd name="connsiteX26" fmla="*/ 1718417 w 3476531"/>
              <a:gd name="connsiteY26" fmla="*/ 1 h 862390"/>
              <a:gd name="connsiteX27" fmla="*/ 1510187 w 3476531"/>
              <a:gd name="connsiteY27" fmla="*/ 1 h 862390"/>
              <a:gd name="connsiteX28" fmla="*/ 1301957 w 3476531"/>
              <a:gd name="connsiteY28" fmla="*/ 1 h 862390"/>
              <a:gd name="connsiteX29" fmla="*/ 1066568 w 3476531"/>
              <a:gd name="connsiteY29" fmla="*/ 1 h 862390"/>
              <a:gd name="connsiteX30" fmla="*/ 1066567 w 3476531"/>
              <a:gd name="connsiteY30" fmla="*/ 1 h 862390"/>
              <a:gd name="connsiteX31" fmla="*/ 858337 w 3476531"/>
              <a:gd name="connsiteY31" fmla="*/ 1 h 862390"/>
              <a:gd name="connsiteX32" fmla="*/ 650107 w 3476531"/>
              <a:gd name="connsiteY32" fmla="*/ 1 h 862390"/>
              <a:gd name="connsiteX33" fmla="*/ 1078171 w 3476531"/>
              <a:gd name="connsiteY33" fmla="*/ 862390 h 862390"/>
              <a:gd name="connsiteX34" fmla="*/ 428065 w 3476531"/>
              <a:gd name="connsiteY34" fmla="*/ 862390 h 862390"/>
              <a:gd name="connsiteX35" fmla="*/ 0 w 3476531"/>
              <a:gd name="connsiteY35" fmla="*/ 0 h 862390"/>
              <a:gd name="connsiteX0" fmla="*/ 0 w 3476531"/>
              <a:gd name="connsiteY0" fmla="*/ 0 h 862390"/>
              <a:gd name="connsiteX1" fmla="*/ 208230 w 3476531"/>
              <a:gd name="connsiteY1" fmla="*/ 0 h 862390"/>
              <a:gd name="connsiteX2" fmla="*/ 416460 w 3476531"/>
              <a:gd name="connsiteY2" fmla="*/ 0 h 862390"/>
              <a:gd name="connsiteX3" fmla="*/ 416461 w 3476531"/>
              <a:gd name="connsiteY3" fmla="*/ 0 h 862390"/>
              <a:gd name="connsiteX4" fmla="*/ 651850 w 3476531"/>
              <a:gd name="connsiteY4" fmla="*/ 0 h 862390"/>
              <a:gd name="connsiteX5" fmla="*/ 860080 w 3476531"/>
              <a:gd name="connsiteY5" fmla="*/ 0 h 862390"/>
              <a:gd name="connsiteX6" fmla="*/ 1068310 w 3476531"/>
              <a:gd name="connsiteY6" fmla="*/ 0 h 862390"/>
              <a:gd name="connsiteX7" fmla="*/ 1303700 w 3476531"/>
              <a:gd name="connsiteY7" fmla="*/ 0 h 862390"/>
              <a:gd name="connsiteX8" fmla="*/ 1520983 w 3476531"/>
              <a:gd name="connsiteY8" fmla="*/ 0 h 862390"/>
              <a:gd name="connsiteX9" fmla="*/ 1729213 w 3476531"/>
              <a:gd name="connsiteY9" fmla="*/ 0 h 862390"/>
              <a:gd name="connsiteX10" fmla="*/ 1964603 w 3476531"/>
              <a:gd name="connsiteY10" fmla="*/ 0 h 862390"/>
              <a:gd name="connsiteX11" fmla="*/ 2199993 w 3476531"/>
              <a:gd name="connsiteY11" fmla="*/ 0 h 862390"/>
              <a:gd name="connsiteX12" fmla="*/ 2408223 w 3476531"/>
              <a:gd name="connsiteY12" fmla="*/ 0 h 862390"/>
              <a:gd name="connsiteX13" fmla="*/ 2643613 w 3476531"/>
              <a:gd name="connsiteY13" fmla="*/ 0 h 862390"/>
              <a:gd name="connsiteX14" fmla="*/ 2824681 w 3476531"/>
              <a:gd name="connsiteY14" fmla="*/ 0 h 862390"/>
              <a:gd name="connsiteX15" fmla="*/ 3032911 w 3476531"/>
              <a:gd name="connsiteY15" fmla="*/ 0 h 862390"/>
              <a:gd name="connsiteX16" fmla="*/ 3241141 w 3476531"/>
              <a:gd name="connsiteY16" fmla="*/ 0 h 862390"/>
              <a:gd name="connsiteX17" fmla="*/ 3476531 w 3476531"/>
              <a:gd name="connsiteY17" fmla="*/ 0 h 862390"/>
              <a:gd name="connsiteX18" fmla="*/ 3293720 w 3476531"/>
              <a:gd name="connsiteY18" fmla="*/ 1 h 862390"/>
              <a:gd name="connsiteX19" fmla="*/ 3058330 w 3476531"/>
              <a:gd name="connsiteY19" fmla="*/ 1 h 862390"/>
              <a:gd name="connsiteX20" fmla="*/ 2850100 w 3476531"/>
              <a:gd name="connsiteY20" fmla="*/ 1 h 862390"/>
              <a:gd name="connsiteX21" fmla="*/ 2614710 w 3476531"/>
              <a:gd name="connsiteY21" fmla="*/ 1 h 862390"/>
              <a:gd name="connsiteX22" fmla="*/ 2379320 w 3476531"/>
              <a:gd name="connsiteY22" fmla="*/ 1 h 862390"/>
              <a:gd name="connsiteX23" fmla="*/ 2171090 w 3476531"/>
              <a:gd name="connsiteY23" fmla="*/ 1 h 862390"/>
              <a:gd name="connsiteX24" fmla="*/ 1953807 w 3476531"/>
              <a:gd name="connsiteY24" fmla="*/ 1 h 862390"/>
              <a:gd name="connsiteX25" fmla="*/ 1718417 w 3476531"/>
              <a:gd name="connsiteY25" fmla="*/ 1 h 862390"/>
              <a:gd name="connsiteX26" fmla="*/ 1510187 w 3476531"/>
              <a:gd name="connsiteY26" fmla="*/ 1 h 862390"/>
              <a:gd name="connsiteX27" fmla="*/ 1301957 w 3476531"/>
              <a:gd name="connsiteY27" fmla="*/ 1 h 862390"/>
              <a:gd name="connsiteX28" fmla="*/ 1066568 w 3476531"/>
              <a:gd name="connsiteY28" fmla="*/ 1 h 862390"/>
              <a:gd name="connsiteX29" fmla="*/ 1066567 w 3476531"/>
              <a:gd name="connsiteY29" fmla="*/ 1 h 862390"/>
              <a:gd name="connsiteX30" fmla="*/ 858337 w 3476531"/>
              <a:gd name="connsiteY30" fmla="*/ 1 h 862390"/>
              <a:gd name="connsiteX31" fmla="*/ 650107 w 3476531"/>
              <a:gd name="connsiteY31" fmla="*/ 1 h 862390"/>
              <a:gd name="connsiteX32" fmla="*/ 1078171 w 3476531"/>
              <a:gd name="connsiteY32" fmla="*/ 862390 h 862390"/>
              <a:gd name="connsiteX33" fmla="*/ 428065 w 3476531"/>
              <a:gd name="connsiteY33" fmla="*/ 862390 h 862390"/>
              <a:gd name="connsiteX34" fmla="*/ 0 w 3476531"/>
              <a:gd name="connsiteY34" fmla="*/ 0 h 862390"/>
              <a:gd name="connsiteX0" fmla="*/ 0 w 3476531"/>
              <a:gd name="connsiteY0" fmla="*/ 0 h 862390"/>
              <a:gd name="connsiteX1" fmla="*/ 208230 w 3476531"/>
              <a:gd name="connsiteY1" fmla="*/ 0 h 862390"/>
              <a:gd name="connsiteX2" fmla="*/ 416460 w 3476531"/>
              <a:gd name="connsiteY2" fmla="*/ 0 h 862390"/>
              <a:gd name="connsiteX3" fmla="*/ 416461 w 3476531"/>
              <a:gd name="connsiteY3" fmla="*/ 0 h 862390"/>
              <a:gd name="connsiteX4" fmla="*/ 651850 w 3476531"/>
              <a:gd name="connsiteY4" fmla="*/ 0 h 862390"/>
              <a:gd name="connsiteX5" fmla="*/ 860080 w 3476531"/>
              <a:gd name="connsiteY5" fmla="*/ 0 h 862390"/>
              <a:gd name="connsiteX6" fmla="*/ 1068310 w 3476531"/>
              <a:gd name="connsiteY6" fmla="*/ 0 h 862390"/>
              <a:gd name="connsiteX7" fmla="*/ 1303700 w 3476531"/>
              <a:gd name="connsiteY7" fmla="*/ 0 h 862390"/>
              <a:gd name="connsiteX8" fmla="*/ 1520983 w 3476531"/>
              <a:gd name="connsiteY8" fmla="*/ 0 h 862390"/>
              <a:gd name="connsiteX9" fmla="*/ 1729213 w 3476531"/>
              <a:gd name="connsiteY9" fmla="*/ 0 h 862390"/>
              <a:gd name="connsiteX10" fmla="*/ 1964603 w 3476531"/>
              <a:gd name="connsiteY10" fmla="*/ 0 h 862390"/>
              <a:gd name="connsiteX11" fmla="*/ 2199993 w 3476531"/>
              <a:gd name="connsiteY11" fmla="*/ 0 h 862390"/>
              <a:gd name="connsiteX12" fmla="*/ 2408223 w 3476531"/>
              <a:gd name="connsiteY12" fmla="*/ 0 h 862390"/>
              <a:gd name="connsiteX13" fmla="*/ 2643613 w 3476531"/>
              <a:gd name="connsiteY13" fmla="*/ 0 h 862390"/>
              <a:gd name="connsiteX14" fmla="*/ 2824681 w 3476531"/>
              <a:gd name="connsiteY14" fmla="*/ 0 h 862390"/>
              <a:gd name="connsiteX15" fmla="*/ 3032911 w 3476531"/>
              <a:gd name="connsiteY15" fmla="*/ 0 h 862390"/>
              <a:gd name="connsiteX16" fmla="*/ 3241141 w 3476531"/>
              <a:gd name="connsiteY16" fmla="*/ 0 h 862390"/>
              <a:gd name="connsiteX17" fmla="*/ 3476531 w 3476531"/>
              <a:gd name="connsiteY17" fmla="*/ 0 h 862390"/>
              <a:gd name="connsiteX18" fmla="*/ 3058330 w 3476531"/>
              <a:gd name="connsiteY18" fmla="*/ 1 h 862390"/>
              <a:gd name="connsiteX19" fmla="*/ 2850100 w 3476531"/>
              <a:gd name="connsiteY19" fmla="*/ 1 h 862390"/>
              <a:gd name="connsiteX20" fmla="*/ 2614710 w 3476531"/>
              <a:gd name="connsiteY20" fmla="*/ 1 h 862390"/>
              <a:gd name="connsiteX21" fmla="*/ 2379320 w 3476531"/>
              <a:gd name="connsiteY21" fmla="*/ 1 h 862390"/>
              <a:gd name="connsiteX22" fmla="*/ 2171090 w 3476531"/>
              <a:gd name="connsiteY22" fmla="*/ 1 h 862390"/>
              <a:gd name="connsiteX23" fmla="*/ 1953807 w 3476531"/>
              <a:gd name="connsiteY23" fmla="*/ 1 h 862390"/>
              <a:gd name="connsiteX24" fmla="*/ 1718417 w 3476531"/>
              <a:gd name="connsiteY24" fmla="*/ 1 h 862390"/>
              <a:gd name="connsiteX25" fmla="*/ 1510187 w 3476531"/>
              <a:gd name="connsiteY25" fmla="*/ 1 h 862390"/>
              <a:gd name="connsiteX26" fmla="*/ 1301957 w 3476531"/>
              <a:gd name="connsiteY26" fmla="*/ 1 h 862390"/>
              <a:gd name="connsiteX27" fmla="*/ 1066568 w 3476531"/>
              <a:gd name="connsiteY27" fmla="*/ 1 h 862390"/>
              <a:gd name="connsiteX28" fmla="*/ 1066567 w 3476531"/>
              <a:gd name="connsiteY28" fmla="*/ 1 h 862390"/>
              <a:gd name="connsiteX29" fmla="*/ 858337 w 3476531"/>
              <a:gd name="connsiteY29" fmla="*/ 1 h 862390"/>
              <a:gd name="connsiteX30" fmla="*/ 650107 w 3476531"/>
              <a:gd name="connsiteY30" fmla="*/ 1 h 862390"/>
              <a:gd name="connsiteX31" fmla="*/ 1078171 w 3476531"/>
              <a:gd name="connsiteY31" fmla="*/ 862390 h 862390"/>
              <a:gd name="connsiteX32" fmla="*/ 428065 w 3476531"/>
              <a:gd name="connsiteY32" fmla="*/ 862390 h 862390"/>
              <a:gd name="connsiteX33" fmla="*/ 0 w 3476531"/>
              <a:gd name="connsiteY33" fmla="*/ 0 h 862390"/>
              <a:gd name="connsiteX0" fmla="*/ 0 w 3241141"/>
              <a:gd name="connsiteY0" fmla="*/ 0 h 862390"/>
              <a:gd name="connsiteX1" fmla="*/ 208230 w 3241141"/>
              <a:gd name="connsiteY1" fmla="*/ 0 h 862390"/>
              <a:gd name="connsiteX2" fmla="*/ 416460 w 3241141"/>
              <a:gd name="connsiteY2" fmla="*/ 0 h 862390"/>
              <a:gd name="connsiteX3" fmla="*/ 416461 w 3241141"/>
              <a:gd name="connsiteY3" fmla="*/ 0 h 862390"/>
              <a:gd name="connsiteX4" fmla="*/ 651850 w 3241141"/>
              <a:gd name="connsiteY4" fmla="*/ 0 h 862390"/>
              <a:gd name="connsiteX5" fmla="*/ 860080 w 3241141"/>
              <a:gd name="connsiteY5" fmla="*/ 0 h 862390"/>
              <a:gd name="connsiteX6" fmla="*/ 1068310 w 3241141"/>
              <a:gd name="connsiteY6" fmla="*/ 0 h 862390"/>
              <a:gd name="connsiteX7" fmla="*/ 1303700 w 3241141"/>
              <a:gd name="connsiteY7" fmla="*/ 0 h 862390"/>
              <a:gd name="connsiteX8" fmla="*/ 1520983 w 3241141"/>
              <a:gd name="connsiteY8" fmla="*/ 0 h 862390"/>
              <a:gd name="connsiteX9" fmla="*/ 1729213 w 3241141"/>
              <a:gd name="connsiteY9" fmla="*/ 0 h 862390"/>
              <a:gd name="connsiteX10" fmla="*/ 1964603 w 3241141"/>
              <a:gd name="connsiteY10" fmla="*/ 0 h 862390"/>
              <a:gd name="connsiteX11" fmla="*/ 2199993 w 3241141"/>
              <a:gd name="connsiteY11" fmla="*/ 0 h 862390"/>
              <a:gd name="connsiteX12" fmla="*/ 2408223 w 3241141"/>
              <a:gd name="connsiteY12" fmla="*/ 0 h 862390"/>
              <a:gd name="connsiteX13" fmla="*/ 2643613 w 3241141"/>
              <a:gd name="connsiteY13" fmla="*/ 0 h 862390"/>
              <a:gd name="connsiteX14" fmla="*/ 2824681 w 3241141"/>
              <a:gd name="connsiteY14" fmla="*/ 0 h 862390"/>
              <a:gd name="connsiteX15" fmla="*/ 3032911 w 3241141"/>
              <a:gd name="connsiteY15" fmla="*/ 0 h 862390"/>
              <a:gd name="connsiteX16" fmla="*/ 3241141 w 3241141"/>
              <a:gd name="connsiteY16" fmla="*/ 0 h 862390"/>
              <a:gd name="connsiteX17" fmla="*/ 3058330 w 3241141"/>
              <a:gd name="connsiteY17" fmla="*/ 1 h 862390"/>
              <a:gd name="connsiteX18" fmla="*/ 2850100 w 3241141"/>
              <a:gd name="connsiteY18" fmla="*/ 1 h 862390"/>
              <a:gd name="connsiteX19" fmla="*/ 2614710 w 3241141"/>
              <a:gd name="connsiteY19" fmla="*/ 1 h 862390"/>
              <a:gd name="connsiteX20" fmla="*/ 2379320 w 3241141"/>
              <a:gd name="connsiteY20" fmla="*/ 1 h 862390"/>
              <a:gd name="connsiteX21" fmla="*/ 2171090 w 3241141"/>
              <a:gd name="connsiteY21" fmla="*/ 1 h 862390"/>
              <a:gd name="connsiteX22" fmla="*/ 1953807 w 3241141"/>
              <a:gd name="connsiteY22" fmla="*/ 1 h 862390"/>
              <a:gd name="connsiteX23" fmla="*/ 1718417 w 3241141"/>
              <a:gd name="connsiteY23" fmla="*/ 1 h 862390"/>
              <a:gd name="connsiteX24" fmla="*/ 1510187 w 3241141"/>
              <a:gd name="connsiteY24" fmla="*/ 1 h 862390"/>
              <a:gd name="connsiteX25" fmla="*/ 1301957 w 3241141"/>
              <a:gd name="connsiteY25" fmla="*/ 1 h 862390"/>
              <a:gd name="connsiteX26" fmla="*/ 1066568 w 3241141"/>
              <a:gd name="connsiteY26" fmla="*/ 1 h 862390"/>
              <a:gd name="connsiteX27" fmla="*/ 1066567 w 3241141"/>
              <a:gd name="connsiteY27" fmla="*/ 1 h 862390"/>
              <a:gd name="connsiteX28" fmla="*/ 858337 w 3241141"/>
              <a:gd name="connsiteY28" fmla="*/ 1 h 862390"/>
              <a:gd name="connsiteX29" fmla="*/ 650107 w 3241141"/>
              <a:gd name="connsiteY29" fmla="*/ 1 h 862390"/>
              <a:gd name="connsiteX30" fmla="*/ 1078171 w 3241141"/>
              <a:gd name="connsiteY30" fmla="*/ 862390 h 862390"/>
              <a:gd name="connsiteX31" fmla="*/ 428065 w 3241141"/>
              <a:gd name="connsiteY31" fmla="*/ 862390 h 862390"/>
              <a:gd name="connsiteX32" fmla="*/ 0 w 3241141"/>
              <a:gd name="connsiteY32" fmla="*/ 0 h 862390"/>
              <a:gd name="connsiteX0" fmla="*/ 0 w 3058330"/>
              <a:gd name="connsiteY0" fmla="*/ 0 h 862390"/>
              <a:gd name="connsiteX1" fmla="*/ 208230 w 3058330"/>
              <a:gd name="connsiteY1" fmla="*/ 0 h 862390"/>
              <a:gd name="connsiteX2" fmla="*/ 416460 w 3058330"/>
              <a:gd name="connsiteY2" fmla="*/ 0 h 862390"/>
              <a:gd name="connsiteX3" fmla="*/ 416461 w 3058330"/>
              <a:gd name="connsiteY3" fmla="*/ 0 h 862390"/>
              <a:gd name="connsiteX4" fmla="*/ 651850 w 3058330"/>
              <a:gd name="connsiteY4" fmla="*/ 0 h 862390"/>
              <a:gd name="connsiteX5" fmla="*/ 860080 w 3058330"/>
              <a:gd name="connsiteY5" fmla="*/ 0 h 862390"/>
              <a:gd name="connsiteX6" fmla="*/ 1068310 w 3058330"/>
              <a:gd name="connsiteY6" fmla="*/ 0 h 862390"/>
              <a:gd name="connsiteX7" fmla="*/ 1303700 w 3058330"/>
              <a:gd name="connsiteY7" fmla="*/ 0 h 862390"/>
              <a:gd name="connsiteX8" fmla="*/ 1520983 w 3058330"/>
              <a:gd name="connsiteY8" fmla="*/ 0 h 862390"/>
              <a:gd name="connsiteX9" fmla="*/ 1729213 w 3058330"/>
              <a:gd name="connsiteY9" fmla="*/ 0 h 862390"/>
              <a:gd name="connsiteX10" fmla="*/ 1964603 w 3058330"/>
              <a:gd name="connsiteY10" fmla="*/ 0 h 862390"/>
              <a:gd name="connsiteX11" fmla="*/ 2199993 w 3058330"/>
              <a:gd name="connsiteY11" fmla="*/ 0 h 862390"/>
              <a:gd name="connsiteX12" fmla="*/ 2408223 w 3058330"/>
              <a:gd name="connsiteY12" fmla="*/ 0 h 862390"/>
              <a:gd name="connsiteX13" fmla="*/ 2643613 w 3058330"/>
              <a:gd name="connsiteY13" fmla="*/ 0 h 862390"/>
              <a:gd name="connsiteX14" fmla="*/ 2824681 w 3058330"/>
              <a:gd name="connsiteY14" fmla="*/ 0 h 862390"/>
              <a:gd name="connsiteX15" fmla="*/ 3032911 w 3058330"/>
              <a:gd name="connsiteY15" fmla="*/ 0 h 862390"/>
              <a:gd name="connsiteX16" fmla="*/ 3058330 w 3058330"/>
              <a:gd name="connsiteY16" fmla="*/ 1 h 862390"/>
              <a:gd name="connsiteX17" fmla="*/ 2850100 w 3058330"/>
              <a:gd name="connsiteY17" fmla="*/ 1 h 862390"/>
              <a:gd name="connsiteX18" fmla="*/ 2614710 w 3058330"/>
              <a:gd name="connsiteY18" fmla="*/ 1 h 862390"/>
              <a:gd name="connsiteX19" fmla="*/ 2379320 w 3058330"/>
              <a:gd name="connsiteY19" fmla="*/ 1 h 862390"/>
              <a:gd name="connsiteX20" fmla="*/ 2171090 w 3058330"/>
              <a:gd name="connsiteY20" fmla="*/ 1 h 862390"/>
              <a:gd name="connsiteX21" fmla="*/ 1953807 w 3058330"/>
              <a:gd name="connsiteY21" fmla="*/ 1 h 862390"/>
              <a:gd name="connsiteX22" fmla="*/ 1718417 w 3058330"/>
              <a:gd name="connsiteY22" fmla="*/ 1 h 862390"/>
              <a:gd name="connsiteX23" fmla="*/ 1510187 w 3058330"/>
              <a:gd name="connsiteY23" fmla="*/ 1 h 862390"/>
              <a:gd name="connsiteX24" fmla="*/ 1301957 w 3058330"/>
              <a:gd name="connsiteY24" fmla="*/ 1 h 862390"/>
              <a:gd name="connsiteX25" fmla="*/ 1066568 w 3058330"/>
              <a:gd name="connsiteY25" fmla="*/ 1 h 862390"/>
              <a:gd name="connsiteX26" fmla="*/ 1066567 w 3058330"/>
              <a:gd name="connsiteY26" fmla="*/ 1 h 862390"/>
              <a:gd name="connsiteX27" fmla="*/ 858337 w 3058330"/>
              <a:gd name="connsiteY27" fmla="*/ 1 h 862390"/>
              <a:gd name="connsiteX28" fmla="*/ 650107 w 3058330"/>
              <a:gd name="connsiteY28" fmla="*/ 1 h 862390"/>
              <a:gd name="connsiteX29" fmla="*/ 1078171 w 3058330"/>
              <a:gd name="connsiteY29" fmla="*/ 862390 h 862390"/>
              <a:gd name="connsiteX30" fmla="*/ 428065 w 3058330"/>
              <a:gd name="connsiteY30" fmla="*/ 862390 h 862390"/>
              <a:gd name="connsiteX31" fmla="*/ 0 w 3058330"/>
              <a:gd name="connsiteY31" fmla="*/ 0 h 862390"/>
              <a:gd name="connsiteX0" fmla="*/ 0 w 3032911"/>
              <a:gd name="connsiteY0" fmla="*/ 0 h 862390"/>
              <a:gd name="connsiteX1" fmla="*/ 208230 w 3032911"/>
              <a:gd name="connsiteY1" fmla="*/ 0 h 862390"/>
              <a:gd name="connsiteX2" fmla="*/ 416460 w 3032911"/>
              <a:gd name="connsiteY2" fmla="*/ 0 h 862390"/>
              <a:gd name="connsiteX3" fmla="*/ 416461 w 3032911"/>
              <a:gd name="connsiteY3" fmla="*/ 0 h 862390"/>
              <a:gd name="connsiteX4" fmla="*/ 651850 w 3032911"/>
              <a:gd name="connsiteY4" fmla="*/ 0 h 862390"/>
              <a:gd name="connsiteX5" fmla="*/ 860080 w 3032911"/>
              <a:gd name="connsiteY5" fmla="*/ 0 h 862390"/>
              <a:gd name="connsiteX6" fmla="*/ 1068310 w 3032911"/>
              <a:gd name="connsiteY6" fmla="*/ 0 h 862390"/>
              <a:gd name="connsiteX7" fmla="*/ 1303700 w 3032911"/>
              <a:gd name="connsiteY7" fmla="*/ 0 h 862390"/>
              <a:gd name="connsiteX8" fmla="*/ 1520983 w 3032911"/>
              <a:gd name="connsiteY8" fmla="*/ 0 h 862390"/>
              <a:gd name="connsiteX9" fmla="*/ 1729213 w 3032911"/>
              <a:gd name="connsiteY9" fmla="*/ 0 h 862390"/>
              <a:gd name="connsiteX10" fmla="*/ 1964603 w 3032911"/>
              <a:gd name="connsiteY10" fmla="*/ 0 h 862390"/>
              <a:gd name="connsiteX11" fmla="*/ 2199993 w 3032911"/>
              <a:gd name="connsiteY11" fmla="*/ 0 h 862390"/>
              <a:gd name="connsiteX12" fmla="*/ 2408223 w 3032911"/>
              <a:gd name="connsiteY12" fmla="*/ 0 h 862390"/>
              <a:gd name="connsiteX13" fmla="*/ 2643613 w 3032911"/>
              <a:gd name="connsiteY13" fmla="*/ 0 h 862390"/>
              <a:gd name="connsiteX14" fmla="*/ 2824681 w 3032911"/>
              <a:gd name="connsiteY14" fmla="*/ 0 h 862390"/>
              <a:gd name="connsiteX15" fmla="*/ 3032911 w 3032911"/>
              <a:gd name="connsiteY15" fmla="*/ 0 h 862390"/>
              <a:gd name="connsiteX16" fmla="*/ 2850100 w 3032911"/>
              <a:gd name="connsiteY16" fmla="*/ 1 h 862390"/>
              <a:gd name="connsiteX17" fmla="*/ 2614710 w 3032911"/>
              <a:gd name="connsiteY17" fmla="*/ 1 h 862390"/>
              <a:gd name="connsiteX18" fmla="*/ 2379320 w 3032911"/>
              <a:gd name="connsiteY18" fmla="*/ 1 h 862390"/>
              <a:gd name="connsiteX19" fmla="*/ 2171090 w 3032911"/>
              <a:gd name="connsiteY19" fmla="*/ 1 h 862390"/>
              <a:gd name="connsiteX20" fmla="*/ 1953807 w 3032911"/>
              <a:gd name="connsiteY20" fmla="*/ 1 h 862390"/>
              <a:gd name="connsiteX21" fmla="*/ 1718417 w 3032911"/>
              <a:gd name="connsiteY21" fmla="*/ 1 h 862390"/>
              <a:gd name="connsiteX22" fmla="*/ 1510187 w 3032911"/>
              <a:gd name="connsiteY22" fmla="*/ 1 h 862390"/>
              <a:gd name="connsiteX23" fmla="*/ 1301957 w 3032911"/>
              <a:gd name="connsiteY23" fmla="*/ 1 h 862390"/>
              <a:gd name="connsiteX24" fmla="*/ 1066568 w 3032911"/>
              <a:gd name="connsiteY24" fmla="*/ 1 h 862390"/>
              <a:gd name="connsiteX25" fmla="*/ 1066567 w 3032911"/>
              <a:gd name="connsiteY25" fmla="*/ 1 h 862390"/>
              <a:gd name="connsiteX26" fmla="*/ 858337 w 3032911"/>
              <a:gd name="connsiteY26" fmla="*/ 1 h 862390"/>
              <a:gd name="connsiteX27" fmla="*/ 650107 w 3032911"/>
              <a:gd name="connsiteY27" fmla="*/ 1 h 862390"/>
              <a:gd name="connsiteX28" fmla="*/ 1078171 w 3032911"/>
              <a:gd name="connsiteY28" fmla="*/ 862390 h 862390"/>
              <a:gd name="connsiteX29" fmla="*/ 428065 w 3032911"/>
              <a:gd name="connsiteY29" fmla="*/ 862390 h 862390"/>
              <a:gd name="connsiteX30" fmla="*/ 0 w 3032911"/>
              <a:gd name="connsiteY30" fmla="*/ 0 h 862390"/>
              <a:gd name="connsiteX0" fmla="*/ 0 w 2850100"/>
              <a:gd name="connsiteY0" fmla="*/ 0 h 862390"/>
              <a:gd name="connsiteX1" fmla="*/ 208230 w 2850100"/>
              <a:gd name="connsiteY1" fmla="*/ 0 h 862390"/>
              <a:gd name="connsiteX2" fmla="*/ 416460 w 2850100"/>
              <a:gd name="connsiteY2" fmla="*/ 0 h 862390"/>
              <a:gd name="connsiteX3" fmla="*/ 416461 w 2850100"/>
              <a:gd name="connsiteY3" fmla="*/ 0 h 862390"/>
              <a:gd name="connsiteX4" fmla="*/ 651850 w 2850100"/>
              <a:gd name="connsiteY4" fmla="*/ 0 h 862390"/>
              <a:gd name="connsiteX5" fmla="*/ 860080 w 2850100"/>
              <a:gd name="connsiteY5" fmla="*/ 0 h 862390"/>
              <a:gd name="connsiteX6" fmla="*/ 1068310 w 2850100"/>
              <a:gd name="connsiteY6" fmla="*/ 0 h 862390"/>
              <a:gd name="connsiteX7" fmla="*/ 1303700 w 2850100"/>
              <a:gd name="connsiteY7" fmla="*/ 0 h 862390"/>
              <a:gd name="connsiteX8" fmla="*/ 1520983 w 2850100"/>
              <a:gd name="connsiteY8" fmla="*/ 0 h 862390"/>
              <a:gd name="connsiteX9" fmla="*/ 1729213 w 2850100"/>
              <a:gd name="connsiteY9" fmla="*/ 0 h 862390"/>
              <a:gd name="connsiteX10" fmla="*/ 1964603 w 2850100"/>
              <a:gd name="connsiteY10" fmla="*/ 0 h 862390"/>
              <a:gd name="connsiteX11" fmla="*/ 2199993 w 2850100"/>
              <a:gd name="connsiteY11" fmla="*/ 0 h 862390"/>
              <a:gd name="connsiteX12" fmla="*/ 2408223 w 2850100"/>
              <a:gd name="connsiteY12" fmla="*/ 0 h 862390"/>
              <a:gd name="connsiteX13" fmla="*/ 2643613 w 2850100"/>
              <a:gd name="connsiteY13" fmla="*/ 0 h 862390"/>
              <a:gd name="connsiteX14" fmla="*/ 2824681 w 2850100"/>
              <a:gd name="connsiteY14" fmla="*/ 0 h 862390"/>
              <a:gd name="connsiteX15" fmla="*/ 2850100 w 2850100"/>
              <a:gd name="connsiteY15" fmla="*/ 1 h 862390"/>
              <a:gd name="connsiteX16" fmla="*/ 2614710 w 2850100"/>
              <a:gd name="connsiteY16" fmla="*/ 1 h 862390"/>
              <a:gd name="connsiteX17" fmla="*/ 2379320 w 2850100"/>
              <a:gd name="connsiteY17" fmla="*/ 1 h 862390"/>
              <a:gd name="connsiteX18" fmla="*/ 2171090 w 2850100"/>
              <a:gd name="connsiteY18" fmla="*/ 1 h 862390"/>
              <a:gd name="connsiteX19" fmla="*/ 1953807 w 2850100"/>
              <a:gd name="connsiteY19" fmla="*/ 1 h 862390"/>
              <a:gd name="connsiteX20" fmla="*/ 1718417 w 2850100"/>
              <a:gd name="connsiteY20" fmla="*/ 1 h 862390"/>
              <a:gd name="connsiteX21" fmla="*/ 1510187 w 2850100"/>
              <a:gd name="connsiteY21" fmla="*/ 1 h 862390"/>
              <a:gd name="connsiteX22" fmla="*/ 1301957 w 2850100"/>
              <a:gd name="connsiteY22" fmla="*/ 1 h 862390"/>
              <a:gd name="connsiteX23" fmla="*/ 1066568 w 2850100"/>
              <a:gd name="connsiteY23" fmla="*/ 1 h 862390"/>
              <a:gd name="connsiteX24" fmla="*/ 1066567 w 2850100"/>
              <a:gd name="connsiteY24" fmla="*/ 1 h 862390"/>
              <a:gd name="connsiteX25" fmla="*/ 858337 w 2850100"/>
              <a:gd name="connsiteY25" fmla="*/ 1 h 862390"/>
              <a:gd name="connsiteX26" fmla="*/ 650107 w 2850100"/>
              <a:gd name="connsiteY26" fmla="*/ 1 h 862390"/>
              <a:gd name="connsiteX27" fmla="*/ 1078171 w 2850100"/>
              <a:gd name="connsiteY27" fmla="*/ 862390 h 862390"/>
              <a:gd name="connsiteX28" fmla="*/ 428065 w 2850100"/>
              <a:gd name="connsiteY28" fmla="*/ 862390 h 862390"/>
              <a:gd name="connsiteX29" fmla="*/ 0 w 2850100"/>
              <a:gd name="connsiteY29" fmla="*/ 0 h 8623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2850100" h="862390">
                <a:moveTo>
                  <a:pt x="0" y="0"/>
                </a:moveTo>
                <a:lnTo>
                  <a:pt x="208230" y="0"/>
                </a:lnTo>
                <a:lnTo>
                  <a:pt x="416460" y="0"/>
                </a:lnTo>
                <a:lnTo>
                  <a:pt x="416461" y="0"/>
                </a:lnTo>
                <a:lnTo>
                  <a:pt x="651850" y="0"/>
                </a:lnTo>
                <a:lnTo>
                  <a:pt x="860080" y="0"/>
                </a:lnTo>
                <a:lnTo>
                  <a:pt x="1068310" y="0"/>
                </a:lnTo>
                <a:lnTo>
                  <a:pt x="1303700" y="0"/>
                </a:lnTo>
                <a:lnTo>
                  <a:pt x="1520983" y="0"/>
                </a:lnTo>
                <a:lnTo>
                  <a:pt x="1729213" y="0"/>
                </a:lnTo>
                <a:lnTo>
                  <a:pt x="1964603" y="0"/>
                </a:lnTo>
                <a:lnTo>
                  <a:pt x="2199993" y="0"/>
                </a:lnTo>
                <a:lnTo>
                  <a:pt x="2408223" y="0"/>
                </a:lnTo>
                <a:lnTo>
                  <a:pt x="2643613" y="0"/>
                </a:lnTo>
                <a:lnTo>
                  <a:pt x="2824681" y="0"/>
                </a:lnTo>
                <a:lnTo>
                  <a:pt x="2850100" y="1"/>
                </a:lnTo>
                <a:lnTo>
                  <a:pt x="2614710" y="1"/>
                </a:lnTo>
                <a:lnTo>
                  <a:pt x="2379320" y="1"/>
                </a:lnTo>
                <a:lnTo>
                  <a:pt x="2171090" y="1"/>
                </a:lnTo>
                <a:lnTo>
                  <a:pt x="1953807" y="1"/>
                </a:lnTo>
                <a:lnTo>
                  <a:pt x="1718417" y="1"/>
                </a:lnTo>
                <a:lnTo>
                  <a:pt x="1510187" y="1"/>
                </a:lnTo>
                <a:lnTo>
                  <a:pt x="1301957" y="1"/>
                </a:lnTo>
                <a:lnTo>
                  <a:pt x="1066568" y="1"/>
                </a:lnTo>
                <a:lnTo>
                  <a:pt x="1066567" y="1"/>
                </a:lnTo>
                <a:lnTo>
                  <a:pt x="858337" y="1"/>
                </a:lnTo>
                <a:lnTo>
                  <a:pt x="650107" y="1"/>
                </a:lnTo>
                <a:lnTo>
                  <a:pt x="1078171" y="862390"/>
                </a:lnTo>
                <a:lnTo>
                  <a:pt x="428065" y="86239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233" name="Freeform: Shape 232">
            <a:extLst>
              <a:ext uri="{FF2B5EF4-FFF2-40B4-BE49-F238E27FC236}">
                <a16:creationId xmlns:a16="http://schemas.microsoft.com/office/drawing/2014/main" id="{9C8D76E2-3E79-4367-BBDB-40E99EF2AAC3}"/>
              </a:ext>
            </a:extLst>
          </p:cNvPr>
          <p:cNvSpPr/>
          <p:nvPr userDrawn="1"/>
        </p:nvSpPr>
        <p:spPr>
          <a:xfrm>
            <a:off x="3633342" y="2706744"/>
            <a:ext cx="1067021" cy="839926"/>
          </a:xfrm>
          <a:custGeom>
            <a:avLst/>
            <a:gdLst>
              <a:gd name="connsiteX0" fmla="*/ 0 w 1067021"/>
              <a:gd name="connsiteY0" fmla="*/ 0 h 839926"/>
              <a:gd name="connsiteX1" fmla="*/ 650107 w 1067021"/>
              <a:gd name="connsiteY1" fmla="*/ 0 h 839926"/>
              <a:gd name="connsiteX2" fmla="*/ 1067021 w 1067021"/>
              <a:gd name="connsiteY2" fmla="*/ 839926 h 839926"/>
              <a:gd name="connsiteX3" fmla="*/ 416914 w 1067021"/>
              <a:gd name="connsiteY3" fmla="*/ 839926 h 839926"/>
              <a:gd name="connsiteX4" fmla="*/ 0 w 1067021"/>
              <a:gd name="connsiteY4" fmla="*/ 0 h 839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7021" h="839926">
                <a:moveTo>
                  <a:pt x="0" y="0"/>
                </a:moveTo>
                <a:lnTo>
                  <a:pt x="650107" y="0"/>
                </a:lnTo>
                <a:lnTo>
                  <a:pt x="1067021" y="839926"/>
                </a:lnTo>
                <a:lnTo>
                  <a:pt x="416914" y="83992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232" name="Freeform: Shape 231">
            <a:extLst>
              <a:ext uri="{FF2B5EF4-FFF2-40B4-BE49-F238E27FC236}">
                <a16:creationId xmlns:a16="http://schemas.microsoft.com/office/drawing/2014/main" id="{DA33873C-D60A-40CE-ABC2-EC652FC9C000}"/>
              </a:ext>
            </a:extLst>
          </p:cNvPr>
          <p:cNvSpPr/>
          <p:nvPr userDrawn="1"/>
        </p:nvSpPr>
        <p:spPr>
          <a:xfrm>
            <a:off x="4072949" y="3592393"/>
            <a:ext cx="1066167" cy="838201"/>
          </a:xfrm>
          <a:custGeom>
            <a:avLst/>
            <a:gdLst>
              <a:gd name="connsiteX0" fmla="*/ 0 w 1066166"/>
              <a:gd name="connsiteY0" fmla="*/ 0 h 838201"/>
              <a:gd name="connsiteX1" fmla="*/ 650108 w 1066166"/>
              <a:gd name="connsiteY1" fmla="*/ 0 h 838201"/>
              <a:gd name="connsiteX2" fmla="*/ 1066166 w 1066166"/>
              <a:gd name="connsiteY2" fmla="*/ 838201 h 838201"/>
              <a:gd name="connsiteX3" fmla="*/ 416058 w 1066166"/>
              <a:gd name="connsiteY3" fmla="*/ 838201 h 838201"/>
              <a:gd name="connsiteX4" fmla="*/ 0 w 1066166"/>
              <a:gd name="connsiteY4" fmla="*/ 0 h 838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6166" h="838201">
                <a:moveTo>
                  <a:pt x="0" y="0"/>
                </a:moveTo>
                <a:lnTo>
                  <a:pt x="650108" y="0"/>
                </a:lnTo>
                <a:lnTo>
                  <a:pt x="1066166" y="838201"/>
                </a:lnTo>
                <a:lnTo>
                  <a:pt x="416058" y="83820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231" name="Freeform: Shape 230">
            <a:extLst>
              <a:ext uri="{FF2B5EF4-FFF2-40B4-BE49-F238E27FC236}">
                <a16:creationId xmlns:a16="http://schemas.microsoft.com/office/drawing/2014/main" id="{10BC350D-9C23-4DBE-B413-56603CEF2FC9}"/>
              </a:ext>
            </a:extLst>
          </p:cNvPr>
          <p:cNvSpPr/>
          <p:nvPr userDrawn="1"/>
        </p:nvSpPr>
        <p:spPr>
          <a:xfrm>
            <a:off x="4511701" y="4476309"/>
            <a:ext cx="1072307" cy="850574"/>
          </a:xfrm>
          <a:custGeom>
            <a:avLst/>
            <a:gdLst>
              <a:gd name="connsiteX0" fmla="*/ 0 w 1072306"/>
              <a:gd name="connsiteY0" fmla="*/ 0 h 850574"/>
              <a:gd name="connsiteX1" fmla="*/ 650106 w 1072306"/>
              <a:gd name="connsiteY1" fmla="*/ 0 h 850574"/>
              <a:gd name="connsiteX2" fmla="*/ 1072306 w 1072306"/>
              <a:gd name="connsiteY2" fmla="*/ 850574 h 850574"/>
              <a:gd name="connsiteX3" fmla="*/ 422200 w 1072306"/>
              <a:gd name="connsiteY3" fmla="*/ 850574 h 850574"/>
              <a:gd name="connsiteX4" fmla="*/ 0 w 1072306"/>
              <a:gd name="connsiteY4" fmla="*/ 0 h 850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2306" h="850574">
                <a:moveTo>
                  <a:pt x="0" y="0"/>
                </a:moveTo>
                <a:lnTo>
                  <a:pt x="650106" y="0"/>
                </a:lnTo>
                <a:lnTo>
                  <a:pt x="1072306" y="850574"/>
                </a:lnTo>
                <a:lnTo>
                  <a:pt x="422200" y="85057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230" name="Freeform: Shape 229">
            <a:extLst>
              <a:ext uri="{FF2B5EF4-FFF2-40B4-BE49-F238E27FC236}">
                <a16:creationId xmlns:a16="http://schemas.microsoft.com/office/drawing/2014/main" id="{433192B5-88B0-483B-8B8A-4DD883CF29A8}"/>
              </a:ext>
            </a:extLst>
          </p:cNvPr>
          <p:cNvSpPr/>
          <p:nvPr userDrawn="1"/>
        </p:nvSpPr>
        <p:spPr>
          <a:xfrm>
            <a:off x="4956594" y="5372602"/>
            <a:ext cx="1061975" cy="829758"/>
          </a:xfrm>
          <a:custGeom>
            <a:avLst/>
            <a:gdLst>
              <a:gd name="connsiteX0" fmla="*/ 0 w 1061974"/>
              <a:gd name="connsiteY0" fmla="*/ 0 h 829758"/>
              <a:gd name="connsiteX1" fmla="*/ 650107 w 1061974"/>
              <a:gd name="connsiteY1" fmla="*/ 0 h 829758"/>
              <a:gd name="connsiteX2" fmla="*/ 1061974 w 1061974"/>
              <a:gd name="connsiteY2" fmla="*/ 829758 h 829758"/>
              <a:gd name="connsiteX3" fmla="*/ 862810 w 1061974"/>
              <a:gd name="connsiteY3" fmla="*/ 829758 h 829758"/>
              <a:gd name="connsiteX4" fmla="*/ 828327 w 1061974"/>
              <a:gd name="connsiteY4" fmla="*/ 829758 h 829758"/>
              <a:gd name="connsiteX5" fmla="*/ 654580 w 1061974"/>
              <a:gd name="connsiteY5" fmla="*/ 829758 h 829758"/>
              <a:gd name="connsiteX6" fmla="*/ 620097 w 1061974"/>
              <a:gd name="connsiteY6" fmla="*/ 829758 h 829758"/>
              <a:gd name="connsiteX7" fmla="*/ 411867 w 1061974"/>
              <a:gd name="connsiteY7" fmla="*/ 829758 h 829758"/>
              <a:gd name="connsiteX8" fmla="*/ 0 w 1061974"/>
              <a:gd name="connsiteY8" fmla="*/ 0 h 829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61974" h="829758">
                <a:moveTo>
                  <a:pt x="0" y="0"/>
                </a:moveTo>
                <a:lnTo>
                  <a:pt x="650107" y="0"/>
                </a:lnTo>
                <a:lnTo>
                  <a:pt x="1061974" y="829758"/>
                </a:lnTo>
                <a:lnTo>
                  <a:pt x="862810" y="829758"/>
                </a:lnTo>
                <a:lnTo>
                  <a:pt x="828327" y="829758"/>
                </a:lnTo>
                <a:lnTo>
                  <a:pt x="654580" y="829758"/>
                </a:lnTo>
                <a:lnTo>
                  <a:pt x="620097" y="829758"/>
                </a:lnTo>
                <a:lnTo>
                  <a:pt x="411867" y="82975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4FF9C29-7789-4F73-9EBD-190955100735}"/>
              </a:ext>
            </a:extLst>
          </p:cNvPr>
          <p:cNvSpPr/>
          <p:nvPr userDrawn="1"/>
        </p:nvSpPr>
        <p:spPr>
          <a:xfrm>
            <a:off x="3372561" y="2021600"/>
            <a:ext cx="700387" cy="4164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400" b="1" dirty="0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0521F07E-C01A-419C-B8E0-07BF90F32A6D}"/>
              </a:ext>
            </a:extLst>
          </p:cNvPr>
          <p:cNvSpPr/>
          <p:nvPr userDrawn="1"/>
        </p:nvSpPr>
        <p:spPr>
          <a:xfrm>
            <a:off x="3816181" y="2918477"/>
            <a:ext cx="700387" cy="4164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400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586D6ED-D8FB-412B-8AB5-24F6E069E4CC}"/>
              </a:ext>
            </a:extLst>
          </p:cNvPr>
          <p:cNvSpPr/>
          <p:nvPr userDrawn="1"/>
        </p:nvSpPr>
        <p:spPr>
          <a:xfrm>
            <a:off x="4250748" y="3778556"/>
            <a:ext cx="700387" cy="4164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400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7BEE85E-B6FF-435E-B923-A5705CB5B69C}"/>
              </a:ext>
            </a:extLst>
          </p:cNvPr>
          <p:cNvSpPr/>
          <p:nvPr userDrawn="1"/>
        </p:nvSpPr>
        <p:spPr>
          <a:xfrm>
            <a:off x="4719619" y="4693366"/>
            <a:ext cx="700387" cy="4164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400" b="1" dirty="0">
                <a:solidFill>
                  <a:schemeClr val="bg1"/>
                </a:solidFill>
              </a:rPr>
              <a:t>04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0C5D7D0-EB84-40FF-9A1B-399E6862B4CD}"/>
              </a:ext>
            </a:extLst>
          </p:cNvPr>
          <p:cNvSpPr/>
          <p:nvPr userDrawn="1"/>
        </p:nvSpPr>
        <p:spPr>
          <a:xfrm>
            <a:off x="5163239" y="5579251"/>
            <a:ext cx="700387" cy="4164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400" b="1" dirty="0">
                <a:solidFill>
                  <a:schemeClr val="bg1"/>
                </a:solidFill>
              </a:rPr>
              <a:t>0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984C3-128B-4185-8083-7617E82B43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7933" y="1743075"/>
            <a:ext cx="5905500" cy="858838"/>
          </a:xfrm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07F9624D-492E-434C-A489-BC998B29DE8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7833" y="2647950"/>
            <a:ext cx="5905500" cy="858838"/>
          </a:xfrm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EAF65A01-86EA-4F56-A34C-AD7216F724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42333" y="3552825"/>
            <a:ext cx="5905500" cy="858838"/>
          </a:xfrm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6B5C53AB-7601-40B7-A24E-BFF0E3A65ED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74133" y="4457700"/>
            <a:ext cx="5905500" cy="858838"/>
          </a:xfrm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50358276-43C1-411E-A055-89876269B7F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67833" y="5362575"/>
            <a:ext cx="5905500" cy="858838"/>
          </a:xfrm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ontent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ACED7838-6538-4923-A563-0D2CAC54AB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96631" y="2857221"/>
            <a:ext cx="481227" cy="481227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59B206BB-4755-4A65-B0DF-1F14378D816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7052" y="4640051"/>
            <a:ext cx="460384" cy="460384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46EF242F-ECA0-4AC3-BF1C-29644D7BAE5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07291" y="5563977"/>
            <a:ext cx="459907" cy="459907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594B27AD-FA5B-4831-988E-577A72A54E9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2168" y="2201576"/>
            <a:ext cx="370152" cy="370152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36A28D18-E032-41FA-A064-356B41878E0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7052" y="3734151"/>
            <a:ext cx="460384" cy="460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990741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yramid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Freeform: Shape 81">
            <a:extLst>
              <a:ext uri="{FF2B5EF4-FFF2-40B4-BE49-F238E27FC236}">
                <a16:creationId xmlns:a16="http://schemas.microsoft.com/office/drawing/2014/main" id="{7B670A97-2147-4761-B293-9B9E62AD53BC}"/>
              </a:ext>
            </a:extLst>
          </p:cNvPr>
          <p:cNvSpPr/>
          <p:nvPr userDrawn="1"/>
        </p:nvSpPr>
        <p:spPr>
          <a:xfrm>
            <a:off x="536576" y="1687447"/>
            <a:ext cx="9496877" cy="4527447"/>
          </a:xfrm>
          <a:custGeom>
            <a:avLst/>
            <a:gdLst>
              <a:gd name="connsiteX0" fmla="*/ 3073593 w 9496877"/>
              <a:gd name="connsiteY0" fmla="*/ 0 h 4527447"/>
              <a:gd name="connsiteX1" fmla="*/ 4711893 w 9496877"/>
              <a:gd name="connsiteY1" fmla="*/ 0 h 4527447"/>
              <a:gd name="connsiteX2" fmla="*/ 8789749 w 9496877"/>
              <a:gd name="connsiteY2" fmla="*/ 0 h 4527447"/>
              <a:gd name="connsiteX3" fmla="*/ 8798989 w 9496877"/>
              <a:gd name="connsiteY3" fmla="*/ 0 h 4527447"/>
              <a:gd name="connsiteX4" fmla="*/ 9375575 w 9496877"/>
              <a:gd name="connsiteY4" fmla="*/ 817674 h 4527447"/>
              <a:gd name="connsiteX5" fmla="*/ 9068853 w 9496877"/>
              <a:gd name="connsiteY5" fmla="*/ 764637 h 4527447"/>
              <a:gd name="connsiteX6" fmla="*/ 9496877 w 9496877"/>
              <a:gd name="connsiteY6" fmla="*/ 1371631 h 4527447"/>
              <a:gd name="connsiteX7" fmla="*/ 7354456 w 9496877"/>
              <a:gd name="connsiteY7" fmla="*/ 4527447 h 4527447"/>
              <a:gd name="connsiteX8" fmla="*/ 5716156 w 9496877"/>
              <a:gd name="connsiteY8" fmla="*/ 4527447 h 4527447"/>
              <a:gd name="connsiteX9" fmla="*/ 1638300 w 9496877"/>
              <a:gd name="connsiteY9" fmla="*/ 4527447 h 4527447"/>
              <a:gd name="connsiteX10" fmla="*/ 0 w 9496877"/>
              <a:gd name="connsiteY10" fmla="*/ 4527447 h 4527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496877" h="4527447">
                <a:moveTo>
                  <a:pt x="3073593" y="0"/>
                </a:moveTo>
                <a:lnTo>
                  <a:pt x="4711893" y="0"/>
                </a:lnTo>
                <a:lnTo>
                  <a:pt x="8789749" y="0"/>
                </a:lnTo>
                <a:lnTo>
                  <a:pt x="8798989" y="0"/>
                </a:lnTo>
                <a:lnTo>
                  <a:pt x="9375575" y="817674"/>
                </a:lnTo>
                <a:lnTo>
                  <a:pt x="9068853" y="764637"/>
                </a:lnTo>
                <a:lnTo>
                  <a:pt x="9496877" y="1371631"/>
                </a:lnTo>
                <a:lnTo>
                  <a:pt x="7354456" y="4527447"/>
                </a:lnTo>
                <a:lnTo>
                  <a:pt x="5716156" y="4527447"/>
                </a:lnTo>
                <a:lnTo>
                  <a:pt x="1638300" y="4527447"/>
                </a:lnTo>
                <a:lnTo>
                  <a:pt x="0" y="452744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77" name="Freeform: Shape 76">
            <a:extLst>
              <a:ext uri="{FF2B5EF4-FFF2-40B4-BE49-F238E27FC236}">
                <a16:creationId xmlns:a16="http://schemas.microsoft.com/office/drawing/2014/main" id="{897C927B-DCE0-48BF-A405-B46B17DC938E}"/>
              </a:ext>
            </a:extLst>
          </p:cNvPr>
          <p:cNvSpPr/>
          <p:nvPr userDrawn="1"/>
        </p:nvSpPr>
        <p:spPr>
          <a:xfrm>
            <a:off x="638177" y="1687447"/>
            <a:ext cx="10767176" cy="4527447"/>
          </a:xfrm>
          <a:custGeom>
            <a:avLst/>
            <a:gdLst>
              <a:gd name="connsiteX0" fmla="*/ 3073593 w 9496877"/>
              <a:gd name="connsiteY0" fmla="*/ 0 h 4527447"/>
              <a:gd name="connsiteX1" fmla="*/ 4711893 w 9496877"/>
              <a:gd name="connsiteY1" fmla="*/ 0 h 4527447"/>
              <a:gd name="connsiteX2" fmla="*/ 8789749 w 9496877"/>
              <a:gd name="connsiteY2" fmla="*/ 0 h 4527447"/>
              <a:gd name="connsiteX3" fmla="*/ 8798989 w 9496877"/>
              <a:gd name="connsiteY3" fmla="*/ 0 h 4527447"/>
              <a:gd name="connsiteX4" fmla="*/ 9375575 w 9496877"/>
              <a:gd name="connsiteY4" fmla="*/ 817674 h 4527447"/>
              <a:gd name="connsiteX5" fmla="*/ 9068853 w 9496877"/>
              <a:gd name="connsiteY5" fmla="*/ 764637 h 4527447"/>
              <a:gd name="connsiteX6" fmla="*/ 9496877 w 9496877"/>
              <a:gd name="connsiteY6" fmla="*/ 1371631 h 4527447"/>
              <a:gd name="connsiteX7" fmla="*/ 7354456 w 9496877"/>
              <a:gd name="connsiteY7" fmla="*/ 4527447 h 4527447"/>
              <a:gd name="connsiteX8" fmla="*/ 5716156 w 9496877"/>
              <a:gd name="connsiteY8" fmla="*/ 4527447 h 4527447"/>
              <a:gd name="connsiteX9" fmla="*/ 1638300 w 9496877"/>
              <a:gd name="connsiteY9" fmla="*/ 4527447 h 4527447"/>
              <a:gd name="connsiteX10" fmla="*/ 0 w 9496877"/>
              <a:gd name="connsiteY10" fmla="*/ 4527447 h 4527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496877" h="4527447">
                <a:moveTo>
                  <a:pt x="3073593" y="0"/>
                </a:moveTo>
                <a:lnTo>
                  <a:pt x="4711893" y="0"/>
                </a:lnTo>
                <a:lnTo>
                  <a:pt x="8789749" y="0"/>
                </a:lnTo>
                <a:lnTo>
                  <a:pt x="8798989" y="0"/>
                </a:lnTo>
                <a:lnTo>
                  <a:pt x="9375575" y="817674"/>
                </a:lnTo>
                <a:lnTo>
                  <a:pt x="9068853" y="764637"/>
                </a:lnTo>
                <a:lnTo>
                  <a:pt x="9496877" y="1371631"/>
                </a:lnTo>
                <a:lnTo>
                  <a:pt x="7354456" y="4527447"/>
                </a:lnTo>
                <a:lnTo>
                  <a:pt x="5716156" y="4527447"/>
                </a:lnTo>
                <a:lnTo>
                  <a:pt x="1638300" y="4527447"/>
                </a:lnTo>
                <a:lnTo>
                  <a:pt x="0" y="452744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475560F-34E7-4EE0-9BFC-B8C02902899D}"/>
              </a:ext>
            </a:extLst>
          </p:cNvPr>
          <p:cNvSpPr>
            <a:spLocks noGrp="1"/>
          </p:cNvSpPr>
          <p:nvPr userDrawn="1"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27CB667D-F8A4-4F6B-A325-336A35A5242F}"/>
              </a:ext>
            </a:extLst>
          </p:cNvPr>
          <p:cNvCxnSpPr>
            <a:cxnSpLocks/>
          </p:cNvCxnSpPr>
          <p:nvPr userDrawn="1"/>
        </p:nvCxnSpPr>
        <p:spPr>
          <a:xfrm flipH="1">
            <a:off x="3035301" y="2664540"/>
            <a:ext cx="57496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3B23F045-B9E8-4DFD-AE0F-EF8491DE87B0}"/>
              </a:ext>
            </a:extLst>
          </p:cNvPr>
          <p:cNvCxnSpPr>
            <a:cxnSpLocks/>
          </p:cNvCxnSpPr>
          <p:nvPr userDrawn="1"/>
        </p:nvCxnSpPr>
        <p:spPr>
          <a:xfrm flipH="1">
            <a:off x="2425700" y="3552129"/>
            <a:ext cx="597289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3A59B97D-6D8A-4BC7-936B-5C4F09948392}"/>
              </a:ext>
            </a:extLst>
          </p:cNvPr>
          <p:cNvCxnSpPr>
            <a:cxnSpLocks/>
          </p:cNvCxnSpPr>
          <p:nvPr userDrawn="1"/>
        </p:nvCxnSpPr>
        <p:spPr>
          <a:xfrm flipH="1">
            <a:off x="1828800" y="4439718"/>
            <a:ext cx="627769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9A7399A-C321-4B53-A06C-553C5754F04C}"/>
              </a:ext>
            </a:extLst>
          </p:cNvPr>
          <p:cNvCxnSpPr>
            <a:cxnSpLocks/>
          </p:cNvCxnSpPr>
          <p:nvPr userDrawn="1"/>
        </p:nvCxnSpPr>
        <p:spPr>
          <a:xfrm flipH="1">
            <a:off x="1219200" y="5327307"/>
            <a:ext cx="660789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D9434333-690E-46EB-814E-CDA9602015A9}"/>
              </a:ext>
            </a:extLst>
          </p:cNvPr>
          <p:cNvCxnSpPr/>
          <p:nvPr userDrawn="1"/>
        </p:nvCxnSpPr>
        <p:spPr>
          <a:xfrm flipH="1">
            <a:off x="4144097" y="6214896"/>
            <a:ext cx="492125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9B995C64-62DB-48DD-981C-BBF180145499}"/>
              </a:ext>
            </a:extLst>
          </p:cNvPr>
          <p:cNvGrpSpPr/>
          <p:nvPr userDrawn="1"/>
        </p:nvGrpSpPr>
        <p:grpSpPr>
          <a:xfrm flipV="1">
            <a:off x="8131676" y="1734344"/>
            <a:ext cx="3803554" cy="4530384"/>
            <a:chOff x="7541445" y="1684514"/>
            <a:chExt cx="3803554" cy="4530384"/>
          </a:xfrm>
        </p:grpSpPr>
        <p:sp>
          <p:nvSpPr>
            <p:cNvPr id="51" name="Right Triangle 50">
              <a:extLst>
                <a:ext uri="{FF2B5EF4-FFF2-40B4-BE49-F238E27FC236}">
                  <a16:creationId xmlns:a16="http://schemas.microsoft.com/office/drawing/2014/main" id="{54E53247-EB81-4FD9-B51C-81C3375E44B8}"/>
                </a:ext>
              </a:extLst>
            </p:cNvPr>
            <p:cNvSpPr/>
            <p:nvPr userDrawn="1"/>
          </p:nvSpPr>
          <p:spPr>
            <a:xfrm rot="10800000" flipH="1">
              <a:off x="10688600" y="5326560"/>
              <a:ext cx="358259" cy="205561"/>
            </a:xfrm>
            <a:prstGeom prst="rtTriangle">
              <a:avLst/>
            </a:prstGeom>
            <a:solidFill>
              <a:schemeClr val="accent4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IN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52" name="Right Triangle 51">
              <a:extLst>
                <a:ext uri="{FF2B5EF4-FFF2-40B4-BE49-F238E27FC236}">
                  <a16:creationId xmlns:a16="http://schemas.microsoft.com/office/drawing/2014/main" id="{7F9B0DBB-B637-4710-AE00-F5F1B4047689}"/>
                </a:ext>
              </a:extLst>
            </p:cNvPr>
            <p:cNvSpPr/>
            <p:nvPr userDrawn="1"/>
          </p:nvSpPr>
          <p:spPr>
            <a:xfrm rot="10800000">
              <a:off x="7839586" y="5326559"/>
              <a:ext cx="358255" cy="205561"/>
            </a:xfrm>
            <a:prstGeom prst="rtTriangle">
              <a:avLst/>
            </a:prstGeom>
            <a:solidFill>
              <a:schemeClr val="accent4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IN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49" name="Right Triangle 48">
              <a:extLst>
                <a:ext uri="{FF2B5EF4-FFF2-40B4-BE49-F238E27FC236}">
                  <a16:creationId xmlns:a16="http://schemas.microsoft.com/office/drawing/2014/main" id="{8A0B03C9-2886-4FAD-9215-6B65E9404C9A}"/>
                </a:ext>
              </a:extLst>
            </p:cNvPr>
            <p:cNvSpPr/>
            <p:nvPr userDrawn="1"/>
          </p:nvSpPr>
          <p:spPr>
            <a:xfrm rot="10800000" flipH="1">
              <a:off x="10399493" y="4442640"/>
              <a:ext cx="358259" cy="205561"/>
            </a:xfrm>
            <a:prstGeom prst="rtTriangle">
              <a:avLst/>
            </a:prstGeom>
            <a:solidFill>
              <a:schemeClr val="accent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IN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50" name="Right Triangle 49">
              <a:extLst>
                <a:ext uri="{FF2B5EF4-FFF2-40B4-BE49-F238E27FC236}">
                  <a16:creationId xmlns:a16="http://schemas.microsoft.com/office/drawing/2014/main" id="{5411B2D0-1EAA-491D-9AF7-0EF8399F0834}"/>
                </a:ext>
              </a:extLst>
            </p:cNvPr>
            <p:cNvSpPr/>
            <p:nvPr userDrawn="1"/>
          </p:nvSpPr>
          <p:spPr>
            <a:xfrm rot="10800000">
              <a:off x="8128691" y="4442639"/>
              <a:ext cx="358255" cy="205561"/>
            </a:xfrm>
            <a:prstGeom prst="rtTriangle">
              <a:avLst/>
            </a:prstGeom>
            <a:solidFill>
              <a:schemeClr val="accent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IN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47" name="Right Triangle 46">
              <a:extLst>
                <a:ext uri="{FF2B5EF4-FFF2-40B4-BE49-F238E27FC236}">
                  <a16:creationId xmlns:a16="http://schemas.microsoft.com/office/drawing/2014/main" id="{30E653E4-8849-425D-9433-982EA8442EE3}"/>
                </a:ext>
              </a:extLst>
            </p:cNvPr>
            <p:cNvSpPr/>
            <p:nvPr userDrawn="1"/>
          </p:nvSpPr>
          <p:spPr>
            <a:xfrm rot="10800000" flipH="1">
              <a:off x="10125331" y="3551097"/>
              <a:ext cx="358259" cy="167462"/>
            </a:xfrm>
            <a:prstGeom prst="rtTriangle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IN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48" name="Right Triangle 47">
              <a:extLst>
                <a:ext uri="{FF2B5EF4-FFF2-40B4-BE49-F238E27FC236}">
                  <a16:creationId xmlns:a16="http://schemas.microsoft.com/office/drawing/2014/main" id="{EBF64D3F-EEE9-490E-A6B6-5302A49057BF}"/>
                </a:ext>
              </a:extLst>
            </p:cNvPr>
            <p:cNvSpPr/>
            <p:nvPr userDrawn="1"/>
          </p:nvSpPr>
          <p:spPr>
            <a:xfrm rot="10800000">
              <a:off x="8402850" y="3551096"/>
              <a:ext cx="358255" cy="167462"/>
            </a:xfrm>
            <a:prstGeom prst="rtTriangle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IN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46" name="Right Triangle 45">
              <a:extLst>
                <a:ext uri="{FF2B5EF4-FFF2-40B4-BE49-F238E27FC236}">
                  <a16:creationId xmlns:a16="http://schemas.microsoft.com/office/drawing/2014/main" id="{549FA797-F315-41A4-9E01-0EFE8D3BAFD7}"/>
                </a:ext>
              </a:extLst>
            </p:cNvPr>
            <p:cNvSpPr/>
            <p:nvPr userDrawn="1"/>
          </p:nvSpPr>
          <p:spPr>
            <a:xfrm rot="10800000" flipH="1">
              <a:off x="9851325" y="2660515"/>
              <a:ext cx="274007" cy="142217"/>
            </a:xfrm>
            <a:prstGeom prst="rtTriangle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IN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2" name="Right Triangle 11">
              <a:extLst>
                <a:ext uri="{FF2B5EF4-FFF2-40B4-BE49-F238E27FC236}">
                  <a16:creationId xmlns:a16="http://schemas.microsoft.com/office/drawing/2014/main" id="{38674010-3F85-48C4-A47F-51E464F00275}"/>
                </a:ext>
              </a:extLst>
            </p:cNvPr>
            <p:cNvSpPr/>
            <p:nvPr userDrawn="1"/>
          </p:nvSpPr>
          <p:spPr>
            <a:xfrm rot="10800000">
              <a:off x="8761110" y="2660515"/>
              <a:ext cx="274007" cy="142217"/>
            </a:xfrm>
            <a:prstGeom prst="rtTriangle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IN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B3A07D66-4B8A-431B-BFFA-5750ACB9EB80}"/>
                </a:ext>
              </a:extLst>
            </p:cNvPr>
            <p:cNvSpPr/>
            <p:nvPr userDrawn="1"/>
          </p:nvSpPr>
          <p:spPr>
            <a:xfrm>
              <a:off x="9441180" y="3482505"/>
              <a:ext cx="1903819" cy="2732393"/>
            </a:xfrm>
            <a:custGeom>
              <a:avLst/>
              <a:gdLst>
                <a:gd name="connsiteX0" fmla="*/ 2041 w 1903818"/>
                <a:gd name="connsiteY0" fmla="*/ 0 h 2732393"/>
                <a:gd name="connsiteX1" fmla="*/ 1903818 w 1903818"/>
                <a:gd name="connsiteY1" fmla="*/ 2732393 h 2732393"/>
                <a:gd name="connsiteX2" fmla="*/ 0 w 1903818"/>
                <a:gd name="connsiteY2" fmla="*/ 2732393 h 2732393"/>
                <a:gd name="connsiteX3" fmla="*/ 0 w 1903818"/>
                <a:gd name="connsiteY3" fmla="*/ 2933 h 2732393"/>
                <a:gd name="connsiteX4" fmla="*/ 2041 w 1903818"/>
                <a:gd name="connsiteY4" fmla="*/ 0 h 2732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3818" h="2732393">
                  <a:moveTo>
                    <a:pt x="2041" y="0"/>
                  </a:moveTo>
                  <a:lnTo>
                    <a:pt x="1903818" y="2732393"/>
                  </a:lnTo>
                  <a:lnTo>
                    <a:pt x="0" y="2732393"/>
                  </a:lnTo>
                  <a:lnTo>
                    <a:pt x="0" y="2933"/>
                  </a:lnTo>
                  <a:lnTo>
                    <a:pt x="2041" y="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IN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BEB3789B-6657-4AF3-AAE5-5384F7392498}"/>
                </a:ext>
              </a:extLst>
            </p:cNvPr>
            <p:cNvSpPr/>
            <p:nvPr userDrawn="1"/>
          </p:nvSpPr>
          <p:spPr>
            <a:xfrm>
              <a:off x="7541445" y="3485436"/>
              <a:ext cx="1899737" cy="2729460"/>
            </a:xfrm>
            <a:custGeom>
              <a:avLst/>
              <a:gdLst>
                <a:gd name="connsiteX0" fmla="*/ 1899737 w 1899737"/>
                <a:gd name="connsiteY0" fmla="*/ 0 h 2729460"/>
                <a:gd name="connsiteX1" fmla="*/ 1899737 w 1899737"/>
                <a:gd name="connsiteY1" fmla="*/ 2729460 h 2729460"/>
                <a:gd name="connsiteX2" fmla="*/ 0 w 1899737"/>
                <a:gd name="connsiteY2" fmla="*/ 2729460 h 2729460"/>
                <a:gd name="connsiteX3" fmla="*/ 1899737 w 1899737"/>
                <a:gd name="connsiteY3" fmla="*/ 0 h 272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99737" h="2729460">
                  <a:moveTo>
                    <a:pt x="1899737" y="0"/>
                  </a:moveTo>
                  <a:lnTo>
                    <a:pt x="1899737" y="2729460"/>
                  </a:lnTo>
                  <a:lnTo>
                    <a:pt x="0" y="2729460"/>
                  </a:lnTo>
                  <a:lnTo>
                    <a:pt x="1899737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IN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196F2B26-F614-409B-994F-D30321A9788C}"/>
                </a:ext>
              </a:extLst>
            </p:cNvPr>
            <p:cNvSpPr/>
            <p:nvPr userDrawn="1"/>
          </p:nvSpPr>
          <p:spPr>
            <a:xfrm>
              <a:off x="9441181" y="3023271"/>
              <a:ext cx="1605679" cy="2304036"/>
            </a:xfrm>
            <a:custGeom>
              <a:avLst/>
              <a:gdLst>
                <a:gd name="connsiteX0" fmla="*/ 2041 w 1605678"/>
                <a:gd name="connsiteY0" fmla="*/ 0 h 2304036"/>
                <a:gd name="connsiteX1" fmla="*/ 1605678 w 1605678"/>
                <a:gd name="connsiteY1" fmla="*/ 2304036 h 2304036"/>
                <a:gd name="connsiteX2" fmla="*/ 0 w 1605678"/>
                <a:gd name="connsiteY2" fmla="*/ 2304036 h 2304036"/>
                <a:gd name="connsiteX3" fmla="*/ 0 w 1605678"/>
                <a:gd name="connsiteY3" fmla="*/ 2933 h 2304036"/>
                <a:gd name="connsiteX4" fmla="*/ 2041 w 1605678"/>
                <a:gd name="connsiteY4" fmla="*/ 0 h 2304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5678" h="2304036">
                  <a:moveTo>
                    <a:pt x="2041" y="0"/>
                  </a:moveTo>
                  <a:lnTo>
                    <a:pt x="1605678" y="2304036"/>
                  </a:lnTo>
                  <a:lnTo>
                    <a:pt x="0" y="2304036"/>
                  </a:lnTo>
                  <a:lnTo>
                    <a:pt x="0" y="2933"/>
                  </a:lnTo>
                  <a:lnTo>
                    <a:pt x="2041" y="0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IN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18BAF373-2497-49F1-ABA1-217CFF77CBE2}"/>
                </a:ext>
              </a:extLst>
            </p:cNvPr>
            <p:cNvSpPr/>
            <p:nvPr userDrawn="1"/>
          </p:nvSpPr>
          <p:spPr>
            <a:xfrm>
              <a:off x="7839585" y="3026207"/>
              <a:ext cx="1601596" cy="2301103"/>
            </a:xfrm>
            <a:custGeom>
              <a:avLst/>
              <a:gdLst>
                <a:gd name="connsiteX0" fmla="*/ 1601596 w 1601596"/>
                <a:gd name="connsiteY0" fmla="*/ 0 h 2301103"/>
                <a:gd name="connsiteX1" fmla="*/ 1601596 w 1601596"/>
                <a:gd name="connsiteY1" fmla="*/ 2301103 h 2301103"/>
                <a:gd name="connsiteX2" fmla="*/ 0 w 1601596"/>
                <a:gd name="connsiteY2" fmla="*/ 2301103 h 2301103"/>
                <a:gd name="connsiteX3" fmla="*/ 1601596 w 1601596"/>
                <a:gd name="connsiteY3" fmla="*/ 0 h 2301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01596" h="2301103">
                  <a:moveTo>
                    <a:pt x="1601596" y="0"/>
                  </a:moveTo>
                  <a:lnTo>
                    <a:pt x="1601596" y="2301103"/>
                  </a:lnTo>
                  <a:lnTo>
                    <a:pt x="0" y="2301103"/>
                  </a:lnTo>
                  <a:lnTo>
                    <a:pt x="160159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IN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21C77133-AC55-4821-BC93-1DE37E9F548C}"/>
                </a:ext>
              </a:extLst>
            </p:cNvPr>
            <p:cNvSpPr/>
            <p:nvPr userDrawn="1"/>
          </p:nvSpPr>
          <p:spPr>
            <a:xfrm>
              <a:off x="9441181" y="2551058"/>
              <a:ext cx="1316572" cy="1888660"/>
            </a:xfrm>
            <a:custGeom>
              <a:avLst/>
              <a:gdLst>
                <a:gd name="connsiteX0" fmla="*/ 2042 w 1316572"/>
                <a:gd name="connsiteY0" fmla="*/ 0 h 1888660"/>
                <a:gd name="connsiteX1" fmla="*/ 1316572 w 1316572"/>
                <a:gd name="connsiteY1" fmla="*/ 1888660 h 1888660"/>
                <a:gd name="connsiteX2" fmla="*/ 0 w 1316572"/>
                <a:gd name="connsiteY2" fmla="*/ 1888660 h 1888660"/>
                <a:gd name="connsiteX3" fmla="*/ 0 w 1316572"/>
                <a:gd name="connsiteY3" fmla="*/ 2934 h 1888660"/>
                <a:gd name="connsiteX4" fmla="*/ 2042 w 1316572"/>
                <a:gd name="connsiteY4" fmla="*/ 0 h 1888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6572" h="1888660">
                  <a:moveTo>
                    <a:pt x="2042" y="0"/>
                  </a:moveTo>
                  <a:lnTo>
                    <a:pt x="1316572" y="1888660"/>
                  </a:lnTo>
                  <a:lnTo>
                    <a:pt x="0" y="1888660"/>
                  </a:lnTo>
                  <a:lnTo>
                    <a:pt x="0" y="2934"/>
                  </a:lnTo>
                  <a:lnTo>
                    <a:pt x="2042" y="0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IN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81AB2984-0BCE-4E53-9722-E2333C3EE5D8}"/>
                </a:ext>
              </a:extLst>
            </p:cNvPr>
            <p:cNvSpPr/>
            <p:nvPr userDrawn="1"/>
          </p:nvSpPr>
          <p:spPr>
            <a:xfrm>
              <a:off x="8128693" y="2553992"/>
              <a:ext cx="1312489" cy="1885726"/>
            </a:xfrm>
            <a:custGeom>
              <a:avLst/>
              <a:gdLst>
                <a:gd name="connsiteX0" fmla="*/ 1312489 w 1312489"/>
                <a:gd name="connsiteY0" fmla="*/ 0 h 1885726"/>
                <a:gd name="connsiteX1" fmla="*/ 1312489 w 1312489"/>
                <a:gd name="connsiteY1" fmla="*/ 1885726 h 1885726"/>
                <a:gd name="connsiteX2" fmla="*/ 0 w 1312489"/>
                <a:gd name="connsiteY2" fmla="*/ 1885726 h 1885726"/>
                <a:gd name="connsiteX3" fmla="*/ 1312489 w 1312489"/>
                <a:gd name="connsiteY3" fmla="*/ 0 h 1885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2489" h="1885726">
                  <a:moveTo>
                    <a:pt x="1312489" y="0"/>
                  </a:moveTo>
                  <a:lnTo>
                    <a:pt x="1312489" y="1885726"/>
                  </a:lnTo>
                  <a:lnTo>
                    <a:pt x="0" y="1885726"/>
                  </a:lnTo>
                  <a:lnTo>
                    <a:pt x="1312489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IN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1F4C85C5-6BA9-4436-AA8A-773EBC67E608}"/>
                </a:ext>
              </a:extLst>
            </p:cNvPr>
            <p:cNvSpPr/>
            <p:nvPr userDrawn="1"/>
          </p:nvSpPr>
          <p:spPr>
            <a:xfrm>
              <a:off x="9441181" y="2057375"/>
              <a:ext cx="1042409" cy="1494754"/>
            </a:xfrm>
            <a:custGeom>
              <a:avLst/>
              <a:gdLst>
                <a:gd name="connsiteX0" fmla="*/ 2042 w 1042409"/>
                <a:gd name="connsiteY0" fmla="*/ 0 h 1494754"/>
                <a:gd name="connsiteX1" fmla="*/ 1042409 w 1042409"/>
                <a:gd name="connsiteY1" fmla="*/ 1494754 h 1494754"/>
                <a:gd name="connsiteX2" fmla="*/ 0 w 1042409"/>
                <a:gd name="connsiteY2" fmla="*/ 1494754 h 1494754"/>
                <a:gd name="connsiteX3" fmla="*/ 0 w 1042409"/>
                <a:gd name="connsiteY3" fmla="*/ 2934 h 1494754"/>
                <a:gd name="connsiteX4" fmla="*/ 2042 w 1042409"/>
                <a:gd name="connsiteY4" fmla="*/ 0 h 1494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2409" h="1494754">
                  <a:moveTo>
                    <a:pt x="2042" y="0"/>
                  </a:moveTo>
                  <a:lnTo>
                    <a:pt x="1042409" y="1494754"/>
                  </a:lnTo>
                  <a:lnTo>
                    <a:pt x="0" y="1494754"/>
                  </a:lnTo>
                  <a:lnTo>
                    <a:pt x="0" y="2934"/>
                  </a:lnTo>
                  <a:lnTo>
                    <a:pt x="2042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IN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96A4F767-2FA6-4034-9B33-436B1534C9AC}"/>
                </a:ext>
              </a:extLst>
            </p:cNvPr>
            <p:cNvSpPr/>
            <p:nvPr userDrawn="1"/>
          </p:nvSpPr>
          <p:spPr>
            <a:xfrm>
              <a:off x="8402854" y="2060309"/>
              <a:ext cx="1038327" cy="1491820"/>
            </a:xfrm>
            <a:custGeom>
              <a:avLst/>
              <a:gdLst>
                <a:gd name="connsiteX0" fmla="*/ 1038326 w 1038326"/>
                <a:gd name="connsiteY0" fmla="*/ 0 h 1491820"/>
                <a:gd name="connsiteX1" fmla="*/ 1038326 w 1038326"/>
                <a:gd name="connsiteY1" fmla="*/ 1491820 h 1491820"/>
                <a:gd name="connsiteX2" fmla="*/ 0 w 1038326"/>
                <a:gd name="connsiteY2" fmla="*/ 1491820 h 1491820"/>
                <a:gd name="connsiteX3" fmla="*/ 1038326 w 1038326"/>
                <a:gd name="connsiteY3" fmla="*/ 0 h 1491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8326" h="1491820">
                  <a:moveTo>
                    <a:pt x="1038326" y="0"/>
                  </a:moveTo>
                  <a:lnTo>
                    <a:pt x="1038326" y="1491820"/>
                  </a:lnTo>
                  <a:lnTo>
                    <a:pt x="0" y="1491820"/>
                  </a:lnTo>
                  <a:lnTo>
                    <a:pt x="103832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IN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A42BCA62-30E5-4F11-B2A2-D6005C54D58D}"/>
                </a:ext>
              </a:extLst>
            </p:cNvPr>
            <p:cNvSpPr/>
            <p:nvPr userDrawn="1"/>
          </p:nvSpPr>
          <p:spPr>
            <a:xfrm>
              <a:off x="9441181" y="1684514"/>
              <a:ext cx="684151" cy="980026"/>
            </a:xfrm>
            <a:custGeom>
              <a:avLst/>
              <a:gdLst>
                <a:gd name="connsiteX0" fmla="*/ 2040 w 684150"/>
                <a:gd name="connsiteY0" fmla="*/ 0 h 980026"/>
                <a:gd name="connsiteX1" fmla="*/ 684150 w 684150"/>
                <a:gd name="connsiteY1" fmla="*/ 980026 h 980026"/>
                <a:gd name="connsiteX2" fmla="*/ 0 w 684150"/>
                <a:gd name="connsiteY2" fmla="*/ 980026 h 980026"/>
                <a:gd name="connsiteX3" fmla="*/ 0 w 684150"/>
                <a:gd name="connsiteY3" fmla="*/ 2931 h 980026"/>
                <a:gd name="connsiteX4" fmla="*/ 2040 w 684150"/>
                <a:gd name="connsiteY4" fmla="*/ 0 h 980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4150" h="980026">
                  <a:moveTo>
                    <a:pt x="2040" y="0"/>
                  </a:moveTo>
                  <a:lnTo>
                    <a:pt x="684150" y="980026"/>
                  </a:lnTo>
                  <a:lnTo>
                    <a:pt x="0" y="980026"/>
                  </a:lnTo>
                  <a:lnTo>
                    <a:pt x="0" y="2931"/>
                  </a:lnTo>
                  <a:lnTo>
                    <a:pt x="2040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IN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79C3699F-CFF5-4413-AC4F-346AA059ABFE}"/>
                </a:ext>
              </a:extLst>
            </p:cNvPr>
            <p:cNvSpPr/>
            <p:nvPr userDrawn="1"/>
          </p:nvSpPr>
          <p:spPr>
            <a:xfrm>
              <a:off x="8761110" y="1687448"/>
              <a:ext cx="680071" cy="977095"/>
            </a:xfrm>
            <a:custGeom>
              <a:avLst/>
              <a:gdLst>
                <a:gd name="connsiteX0" fmla="*/ 680070 w 680070"/>
                <a:gd name="connsiteY0" fmla="*/ 0 h 977095"/>
                <a:gd name="connsiteX1" fmla="*/ 680070 w 680070"/>
                <a:gd name="connsiteY1" fmla="*/ 977095 h 977095"/>
                <a:gd name="connsiteX2" fmla="*/ 0 w 680070"/>
                <a:gd name="connsiteY2" fmla="*/ 977095 h 977095"/>
                <a:gd name="connsiteX3" fmla="*/ 680070 w 680070"/>
                <a:gd name="connsiteY3" fmla="*/ 0 h 977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0070" h="977095">
                  <a:moveTo>
                    <a:pt x="680070" y="0"/>
                  </a:moveTo>
                  <a:lnTo>
                    <a:pt x="680070" y="977095"/>
                  </a:lnTo>
                  <a:lnTo>
                    <a:pt x="0" y="977095"/>
                  </a:lnTo>
                  <a:lnTo>
                    <a:pt x="68007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IN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01F1A0F6-2297-4224-83DD-FD2381D7ECE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326063"/>
            <a:ext cx="6066837" cy="876300"/>
          </a:xfrm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85" name="Text Placeholder 20">
            <a:extLst>
              <a:ext uri="{FF2B5EF4-FFF2-40B4-BE49-F238E27FC236}">
                <a16:creationId xmlns:a16="http://schemas.microsoft.com/office/drawing/2014/main" id="{1823CD43-46BA-416F-B02E-FCDB904EB9A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28801" y="4449763"/>
            <a:ext cx="5746751" cy="876300"/>
          </a:xfrm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86" name="Text Placeholder 20">
            <a:extLst>
              <a:ext uri="{FF2B5EF4-FFF2-40B4-BE49-F238E27FC236}">
                <a16:creationId xmlns:a16="http://schemas.microsoft.com/office/drawing/2014/main" id="{80130147-CE43-441A-BAD2-701D49DCA73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421449" y="3574709"/>
            <a:ext cx="5442803" cy="849655"/>
          </a:xfrm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87" name="Text Placeholder 20">
            <a:extLst>
              <a:ext uri="{FF2B5EF4-FFF2-40B4-BE49-F238E27FC236}">
                <a16:creationId xmlns:a16="http://schemas.microsoft.com/office/drawing/2014/main" id="{6EA186D0-9F5E-454B-9BF9-26CBD44AB4A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35300" y="2673009"/>
            <a:ext cx="5265955" cy="849655"/>
          </a:xfrm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89" name="Text Placeholder 20">
            <a:extLst>
              <a:ext uri="{FF2B5EF4-FFF2-40B4-BE49-F238E27FC236}">
                <a16:creationId xmlns:a16="http://schemas.microsoft.com/office/drawing/2014/main" id="{EA208D56-A1CC-4B8E-9220-A1FE158CA3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6801" y="1796709"/>
            <a:ext cx="5052711" cy="849655"/>
          </a:xfrm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404941984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yramid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Freeform: Shape 81">
            <a:extLst>
              <a:ext uri="{FF2B5EF4-FFF2-40B4-BE49-F238E27FC236}">
                <a16:creationId xmlns:a16="http://schemas.microsoft.com/office/drawing/2014/main" id="{7B670A97-2147-4761-B293-9B9E62AD53BC}"/>
              </a:ext>
            </a:extLst>
          </p:cNvPr>
          <p:cNvSpPr/>
          <p:nvPr userDrawn="1"/>
        </p:nvSpPr>
        <p:spPr>
          <a:xfrm>
            <a:off x="536576" y="1687447"/>
            <a:ext cx="9496877" cy="4527447"/>
          </a:xfrm>
          <a:custGeom>
            <a:avLst/>
            <a:gdLst>
              <a:gd name="connsiteX0" fmla="*/ 3073593 w 9496877"/>
              <a:gd name="connsiteY0" fmla="*/ 0 h 4527447"/>
              <a:gd name="connsiteX1" fmla="*/ 4711893 w 9496877"/>
              <a:gd name="connsiteY1" fmla="*/ 0 h 4527447"/>
              <a:gd name="connsiteX2" fmla="*/ 8789749 w 9496877"/>
              <a:gd name="connsiteY2" fmla="*/ 0 h 4527447"/>
              <a:gd name="connsiteX3" fmla="*/ 8798989 w 9496877"/>
              <a:gd name="connsiteY3" fmla="*/ 0 h 4527447"/>
              <a:gd name="connsiteX4" fmla="*/ 9375575 w 9496877"/>
              <a:gd name="connsiteY4" fmla="*/ 817674 h 4527447"/>
              <a:gd name="connsiteX5" fmla="*/ 9068853 w 9496877"/>
              <a:gd name="connsiteY5" fmla="*/ 764637 h 4527447"/>
              <a:gd name="connsiteX6" fmla="*/ 9496877 w 9496877"/>
              <a:gd name="connsiteY6" fmla="*/ 1371631 h 4527447"/>
              <a:gd name="connsiteX7" fmla="*/ 7354456 w 9496877"/>
              <a:gd name="connsiteY7" fmla="*/ 4527447 h 4527447"/>
              <a:gd name="connsiteX8" fmla="*/ 5716156 w 9496877"/>
              <a:gd name="connsiteY8" fmla="*/ 4527447 h 4527447"/>
              <a:gd name="connsiteX9" fmla="*/ 1638300 w 9496877"/>
              <a:gd name="connsiteY9" fmla="*/ 4527447 h 4527447"/>
              <a:gd name="connsiteX10" fmla="*/ 0 w 9496877"/>
              <a:gd name="connsiteY10" fmla="*/ 4527447 h 4527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496877" h="4527447">
                <a:moveTo>
                  <a:pt x="3073593" y="0"/>
                </a:moveTo>
                <a:lnTo>
                  <a:pt x="4711893" y="0"/>
                </a:lnTo>
                <a:lnTo>
                  <a:pt x="8789749" y="0"/>
                </a:lnTo>
                <a:lnTo>
                  <a:pt x="8798989" y="0"/>
                </a:lnTo>
                <a:lnTo>
                  <a:pt x="9375575" y="817674"/>
                </a:lnTo>
                <a:lnTo>
                  <a:pt x="9068853" y="764637"/>
                </a:lnTo>
                <a:lnTo>
                  <a:pt x="9496877" y="1371631"/>
                </a:lnTo>
                <a:lnTo>
                  <a:pt x="7354456" y="4527447"/>
                </a:lnTo>
                <a:lnTo>
                  <a:pt x="5716156" y="4527447"/>
                </a:lnTo>
                <a:lnTo>
                  <a:pt x="1638300" y="4527447"/>
                </a:lnTo>
                <a:lnTo>
                  <a:pt x="0" y="452744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77" name="Freeform: Shape 76">
            <a:extLst>
              <a:ext uri="{FF2B5EF4-FFF2-40B4-BE49-F238E27FC236}">
                <a16:creationId xmlns:a16="http://schemas.microsoft.com/office/drawing/2014/main" id="{897C927B-DCE0-48BF-A405-B46B17DC938E}"/>
              </a:ext>
            </a:extLst>
          </p:cNvPr>
          <p:cNvSpPr/>
          <p:nvPr userDrawn="1"/>
        </p:nvSpPr>
        <p:spPr>
          <a:xfrm>
            <a:off x="638176" y="1687447"/>
            <a:ext cx="9496877" cy="4527447"/>
          </a:xfrm>
          <a:custGeom>
            <a:avLst/>
            <a:gdLst>
              <a:gd name="connsiteX0" fmla="*/ 3073593 w 9496877"/>
              <a:gd name="connsiteY0" fmla="*/ 0 h 4527447"/>
              <a:gd name="connsiteX1" fmla="*/ 4711893 w 9496877"/>
              <a:gd name="connsiteY1" fmla="*/ 0 h 4527447"/>
              <a:gd name="connsiteX2" fmla="*/ 8789749 w 9496877"/>
              <a:gd name="connsiteY2" fmla="*/ 0 h 4527447"/>
              <a:gd name="connsiteX3" fmla="*/ 8798989 w 9496877"/>
              <a:gd name="connsiteY3" fmla="*/ 0 h 4527447"/>
              <a:gd name="connsiteX4" fmla="*/ 9375575 w 9496877"/>
              <a:gd name="connsiteY4" fmla="*/ 817674 h 4527447"/>
              <a:gd name="connsiteX5" fmla="*/ 9068853 w 9496877"/>
              <a:gd name="connsiteY5" fmla="*/ 764637 h 4527447"/>
              <a:gd name="connsiteX6" fmla="*/ 9496877 w 9496877"/>
              <a:gd name="connsiteY6" fmla="*/ 1371631 h 4527447"/>
              <a:gd name="connsiteX7" fmla="*/ 7354456 w 9496877"/>
              <a:gd name="connsiteY7" fmla="*/ 4527447 h 4527447"/>
              <a:gd name="connsiteX8" fmla="*/ 5716156 w 9496877"/>
              <a:gd name="connsiteY8" fmla="*/ 4527447 h 4527447"/>
              <a:gd name="connsiteX9" fmla="*/ 1638300 w 9496877"/>
              <a:gd name="connsiteY9" fmla="*/ 4527447 h 4527447"/>
              <a:gd name="connsiteX10" fmla="*/ 0 w 9496877"/>
              <a:gd name="connsiteY10" fmla="*/ 4527447 h 4527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496877" h="4527447">
                <a:moveTo>
                  <a:pt x="3073593" y="0"/>
                </a:moveTo>
                <a:lnTo>
                  <a:pt x="4711893" y="0"/>
                </a:lnTo>
                <a:lnTo>
                  <a:pt x="8789749" y="0"/>
                </a:lnTo>
                <a:lnTo>
                  <a:pt x="8798989" y="0"/>
                </a:lnTo>
                <a:lnTo>
                  <a:pt x="9375575" y="817674"/>
                </a:lnTo>
                <a:lnTo>
                  <a:pt x="9068853" y="764637"/>
                </a:lnTo>
                <a:lnTo>
                  <a:pt x="9496877" y="1371631"/>
                </a:lnTo>
                <a:lnTo>
                  <a:pt x="7354456" y="4527447"/>
                </a:lnTo>
                <a:lnTo>
                  <a:pt x="5716156" y="4527447"/>
                </a:lnTo>
                <a:lnTo>
                  <a:pt x="1638300" y="4527447"/>
                </a:lnTo>
                <a:lnTo>
                  <a:pt x="0" y="452744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51" name="Right Triangle 50">
            <a:extLst>
              <a:ext uri="{FF2B5EF4-FFF2-40B4-BE49-F238E27FC236}">
                <a16:creationId xmlns:a16="http://schemas.microsoft.com/office/drawing/2014/main" id="{54E53247-EB81-4FD9-B51C-81C3375E44B8}"/>
              </a:ext>
            </a:extLst>
          </p:cNvPr>
          <p:cNvSpPr/>
          <p:nvPr userDrawn="1"/>
        </p:nvSpPr>
        <p:spPr>
          <a:xfrm rot="10800000" flipH="1">
            <a:off x="10688600" y="5326560"/>
            <a:ext cx="358259" cy="205561"/>
          </a:xfrm>
          <a:prstGeom prst="rtTriangle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52" name="Right Triangle 51">
            <a:extLst>
              <a:ext uri="{FF2B5EF4-FFF2-40B4-BE49-F238E27FC236}">
                <a16:creationId xmlns:a16="http://schemas.microsoft.com/office/drawing/2014/main" id="{7F9B0DBB-B637-4710-AE00-F5F1B4047689}"/>
              </a:ext>
            </a:extLst>
          </p:cNvPr>
          <p:cNvSpPr/>
          <p:nvPr userDrawn="1"/>
        </p:nvSpPr>
        <p:spPr>
          <a:xfrm rot="10800000">
            <a:off x="7839586" y="5326559"/>
            <a:ext cx="358255" cy="205561"/>
          </a:xfrm>
          <a:prstGeom prst="rtTriangle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49" name="Right Triangle 48">
            <a:extLst>
              <a:ext uri="{FF2B5EF4-FFF2-40B4-BE49-F238E27FC236}">
                <a16:creationId xmlns:a16="http://schemas.microsoft.com/office/drawing/2014/main" id="{8A0B03C9-2886-4FAD-9215-6B65E9404C9A}"/>
              </a:ext>
            </a:extLst>
          </p:cNvPr>
          <p:cNvSpPr/>
          <p:nvPr userDrawn="1"/>
        </p:nvSpPr>
        <p:spPr>
          <a:xfrm rot="10800000" flipH="1">
            <a:off x="10399493" y="4442640"/>
            <a:ext cx="358259" cy="205561"/>
          </a:xfrm>
          <a:prstGeom prst="rtTriangle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50" name="Right Triangle 49">
            <a:extLst>
              <a:ext uri="{FF2B5EF4-FFF2-40B4-BE49-F238E27FC236}">
                <a16:creationId xmlns:a16="http://schemas.microsoft.com/office/drawing/2014/main" id="{5411B2D0-1EAA-491D-9AF7-0EF8399F0834}"/>
              </a:ext>
            </a:extLst>
          </p:cNvPr>
          <p:cNvSpPr/>
          <p:nvPr userDrawn="1"/>
        </p:nvSpPr>
        <p:spPr>
          <a:xfrm rot="10800000">
            <a:off x="8128691" y="4442639"/>
            <a:ext cx="358255" cy="205561"/>
          </a:xfrm>
          <a:prstGeom prst="rtTriangle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47" name="Right Triangle 46">
            <a:extLst>
              <a:ext uri="{FF2B5EF4-FFF2-40B4-BE49-F238E27FC236}">
                <a16:creationId xmlns:a16="http://schemas.microsoft.com/office/drawing/2014/main" id="{30E653E4-8849-425D-9433-982EA8442EE3}"/>
              </a:ext>
            </a:extLst>
          </p:cNvPr>
          <p:cNvSpPr/>
          <p:nvPr userDrawn="1"/>
        </p:nvSpPr>
        <p:spPr>
          <a:xfrm rot="10800000" flipH="1">
            <a:off x="10125331" y="3551097"/>
            <a:ext cx="358259" cy="167462"/>
          </a:xfrm>
          <a:prstGeom prst="rtTriangl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48" name="Right Triangle 47">
            <a:extLst>
              <a:ext uri="{FF2B5EF4-FFF2-40B4-BE49-F238E27FC236}">
                <a16:creationId xmlns:a16="http://schemas.microsoft.com/office/drawing/2014/main" id="{EBF64D3F-EEE9-490E-A6B6-5302A49057BF}"/>
              </a:ext>
            </a:extLst>
          </p:cNvPr>
          <p:cNvSpPr/>
          <p:nvPr userDrawn="1"/>
        </p:nvSpPr>
        <p:spPr>
          <a:xfrm rot="10800000">
            <a:off x="8402850" y="3551096"/>
            <a:ext cx="358255" cy="167462"/>
          </a:xfrm>
          <a:prstGeom prst="rtTriangl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46" name="Right Triangle 45">
            <a:extLst>
              <a:ext uri="{FF2B5EF4-FFF2-40B4-BE49-F238E27FC236}">
                <a16:creationId xmlns:a16="http://schemas.microsoft.com/office/drawing/2014/main" id="{549FA797-F315-41A4-9E01-0EFE8D3BAFD7}"/>
              </a:ext>
            </a:extLst>
          </p:cNvPr>
          <p:cNvSpPr/>
          <p:nvPr userDrawn="1"/>
        </p:nvSpPr>
        <p:spPr>
          <a:xfrm rot="10800000" flipH="1">
            <a:off x="9851325" y="2660515"/>
            <a:ext cx="274007" cy="142217"/>
          </a:xfrm>
          <a:prstGeom prst="rtTriangle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12" name="Right Triangle 11">
            <a:extLst>
              <a:ext uri="{FF2B5EF4-FFF2-40B4-BE49-F238E27FC236}">
                <a16:creationId xmlns:a16="http://schemas.microsoft.com/office/drawing/2014/main" id="{38674010-3F85-48C4-A47F-51E464F00275}"/>
              </a:ext>
            </a:extLst>
          </p:cNvPr>
          <p:cNvSpPr/>
          <p:nvPr userDrawn="1"/>
        </p:nvSpPr>
        <p:spPr>
          <a:xfrm rot="10800000">
            <a:off x="8761110" y="2660515"/>
            <a:ext cx="274007" cy="142217"/>
          </a:xfrm>
          <a:prstGeom prst="rtTriangle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475560F-34E7-4EE0-9BFC-B8C02902899D}"/>
              </a:ext>
            </a:extLst>
          </p:cNvPr>
          <p:cNvSpPr>
            <a:spLocks noGrp="1"/>
          </p:cNvSpPr>
          <p:nvPr userDrawn="1"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27CB667D-F8A4-4F6B-A325-336A35A5242F}"/>
              </a:ext>
            </a:extLst>
          </p:cNvPr>
          <p:cNvCxnSpPr>
            <a:cxnSpLocks/>
          </p:cNvCxnSpPr>
          <p:nvPr userDrawn="1"/>
        </p:nvCxnSpPr>
        <p:spPr>
          <a:xfrm flipH="1">
            <a:off x="3035301" y="2664540"/>
            <a:ext cx="57496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3B23F045-B9E8-4DFD-AE0F-EF8491DE87B0}"/>
              </a:ext>
            </a:extLst>
          </p:cNvPr>
          <p:cNvCxnSpPr>
            <a:cxnSpLocks/>
          </p:cNvCxnSpPr>
          <p:nvPr userDrawn="1"/>
        </p:nvCxnSpPr>
        <p:spPr>
          <a:xfrm flipH="1">
            <a:off x="2425700" y="3552129"/>
            <a:ext cx="597289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3A59B97D-6D8A-4BC7-936B-5C4F09948392}"/>
              </a:ext>
            </a:extLst>
          </p:cNvPr>
          <p:cNvCxnSpPr>
            <a:cxnSpLocks/>
          </p:cNvCxnSpPr>
          <p:nvPr userDrawn="1"/>
        </p:nvCxnSpPr>
        <p:spPr>
          <a:xfrm flipH="1">
            <a:off x="1828800" y="4439718"/>
            <a:ext cx="627769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9A7399A-C321-4B53-A06C-553C5754F04C}"/>
              </a:ext>
            </a:extLst>
          </p:cNvPr>
          <p:cNvCxnSpPr>
            <a:cxnSpLocks/>
          </p:cNvCxnSpPr>
          <p:nvPr userDrawn="1"/>
        </p:nvCxnSpPr>
        <p:spPr>
          <a:xfrm flipH="1">
            <a:off x="1219200" y="5327307"/>
            <a:ext cx="660789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D9434333-690E-46EB-814E-CDA9602015A9}"/>
              </a:ext>
            </a:extLst>
          </p:cNvPr>
          <p:cNvCxnSpPr/>
          <p:nvPr userDrawn="1"/>
        </p:nvCxnSpPr>
        <p:spPr>
          <a:xfrm flipH="1">
            <a:off x="4144097" y="6214896"/>
            <a:ext cx="492125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Freeform: Shape 69">
            <a:extLst>
              <a:ext uri="{FF2B5EF4-FFF2-40B4-BE49-F238E27FC236}">
                <a16:creationId xmlns:a16="http://schemas.microsoft.com/office/drawing/2014/main" id="{B3A07D66-4B8A-431B-BFFA-5750ACB9EB80}"/>
              </a:ext>
            </a:extLst>
          </p:cNvPr>
          <p:cNvSpPr/>
          <p:nvPr userDrawn="1"/>
        </p:nvSpPr>
        <p:spPr>
          <a:xfrm>
            <a:off x="9441180" y="3482505"/>
            <a:ext cx="1903819" cy="2732393"/>
          </a:xfrm>
          <a:custGeom>
            <a:avLst/>
            <a:gdLst>
              <a:gd name="connsiteX0" fmla="*/ 2041 w 1903818"/>
              <a:gd name="connsiteY0" fmla="*/ 0 h 2732393"/>
              <a:gd name="connsiteX1" fmla="*/ 1903818 w 1903818"/>
              <a:gd name="connsiteY1" fmla="*/ 2732393 h 2732393"/>
              <a:gd name="connsiteX2" fmla="*/ 0 w 1903818"/>
              <a:gd name="connsiteY2" fmla="*/ 2732393 h 2732393"/>
              <a:gd name="connsiteX3" fmla="*/ 0 w 1903818"/>
              <a:gd name="connsiteY3" fmla="*/ 2933 h 2732393"/>
              <a:gd name="connsiteX4" fmla="*/ 2041 w 1903818"/>
              <a:gd name="connsiteY4" fmla="*/ 0 h 27323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03818" h="2732393">
                <a:moveTo>
                  <a:pt x="2041" y="0"/>
                </a:moveTo>
                <a:lnTo>
                  <a:pt x="1903818" y="2732393"/>
                </a:lnTo>
                <a:lnTo>
                  <a:pt x="0" y="2732393"/>
                </a:lnTo>
                <a:lnTo>
                  <a:pt x="0" y="2933"/>
                </a:lnTo>
                <a:lnTo>
                  <a:pt x="2041" y="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68" name="Freeform: Shape 67">
            <a:extLst>
              <a:ext uri="{FF2B5EF4-FFF2-40B4-BE49-F238E27FC236}">
                <a16:creationId xmlns:a16="http://schemas.microsoft.com/office/drawing/2014/main" id="{BEB3789B-6657-4AF3-AAE5-5384F7392498}"/>
              </a:ext>
            </a:extLst>
          </p:cNvPr>
          <p:cNvSpPr/>
          <p:nvPr userDrawn="1"/>
        </p:nvSpPr>
        <p:spPr>
          <a:xfrm>
            <a:off x="7541445" y="3485436"/>
            <a:ext cx="1899737" cy="2729460"/>
          </a:xfrm>
          <a:custGeom>
            <a:avLst/>
            <a:gdLst>
              <a:gd name="connsiteX0" fmla="*/ 1899737 w 1899737"/>
              <a:gd name="connsiteY0" fmla="*/ 0 h 2729460"/>
              <a:gd name="connsiteX1" fmla="*/ 1899737 w 1899737"/>
              <a:gd name="connsiteY1" fmla="*/ 2729460 h 2729460"/>
              <a:gd name="connsiteX2" fmla="*/ 0 w 1899737"/>
              <a:gd name="connsiteY2" fmla="*/ 2729460 h 2729460"/>
              <a:gd name="connsiteX3" fmla="*/ 1899737 w 1899737"/>
              <a:gd name="connsiteY3" fmla="*/ 0 h 272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9737" h="2729460">
                <a:moveTo>
                  <a:pt x="1899737" y="0"/>
                </a:moveTo>
                <a:lnTo>
                  <a:pt x="1899737" y="2729460"/>
                </a:lnTo>
                <a:lnTo>
                  <a:pt x="0" y="2729460"/>
                </a:lnTo>
                <a:lnTo>
                  <a:pt x="1899737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67" name="Freeform: Shape 66">
            <a:extLst>
              <a:ext uri="{FF2B5EF4-FFF2-40B4-BE49-F238E27FC236}">
                <a16:creationId xmlns:a16="http://schemas.microsoft.com/office/drawing/2014/main" id="{196F2B26-F614-409B-994F-D30321A9788C}"/>
              </a:ext>
            </a:extLst>
          </p:cNvPr>
          <p:cNvSpPr/>
          <p:nvPr userDrawn="1"/>
        </p:nvSpPr>
        <p:spPr>
          <a:xfrm>
            <a:off x="9441181" y="3023271"/>
            <a:ext cx="1605679" cy="2304036"/>
          </a:xfrm>
          <a:custGeom>
            <a:avLst/>
            <a:gdLst>
              <a:gd name="connsiteX0" fmla="*/ 2041 w 1605678"/>
              <a:gd name="connsiteY0" fmla="*/ 0 h 2304036"/>
              <a:gd name="connsiteX1" fmla="*/ 1605678 w 1605678"/>
              <a:gd name="connsiteY1" fmla="*/ 2304036 h 2304036"/>
              <a:gd name="connsiteX2" fmla="*/ 0 w 1605678"/>
              <a:gd name="connsiteY2" fmla="*/ 2304036 h 2304036"/>
              <a:gd name="connsiteX3" fmla="*/ 0 w 1605678"/>
              <a:gd name="connsiteY3" fmla="*/ 2933 h 2304036"/>
              <a:gd name="connsiteX4" fmla="*/ 2041 w 1605678"/>
              <a:gd name="connsiteY4" fmla="*/ 0 h 2304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5678" h="2304036">
                <a:moveTo>
                  <a:pt x="2041" y="0"/>
                </a:moveTo>
                <a:lnTo>
                  <a:pt x="1605678" y="2304036"/>
                </a:lnTo>
                <a:lnTo>
                  <a:pt x="0" y="2304036"/>
                </a:lnTo>
                <a:lnTo>
                  <a:pt x="0" y="2933"/>
                </a:lnTo>
                <a:lnTo>
                  <a:pt x="2041" y="0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65" name="Freeform: Shape 64">
            <a:extLst>
              <a:ext uri="{FF2B5EF4-FFF2-40B4-BE49-F238E27FC236}">
                <a16:creationId xmlns:a16="http://schemas.microsoft.com/office/drawing/2014/main" id="{18BAF373-2497-49F1-ABA1-217CFF77CBE2}"/>
              </a:ext>
            </a:extLst>
          </p:cNvPr>
          <p:cNvSpPr/>
          <p:nvPr userDrawn="1"/>
        </p:nvSpPr>
        <p:spPr>
          <a:xfrm>
            <a:off x="7839585" y="3026207"/>
            <a:ext cx="1601596" cy="2301103"/>
          </a:xfrm>
          <a:custGeom>
            <a:avLst/>
            <a:gdLst>
              <a:gd name="connsiteX0" fmla="*/ 1601596 w 1601596"/>
              <a:gd name="connsiteY0" fmla="*/ 0 h 2301103"/>
              <a:gd name="connsiteX1" fmla="*/ 1601596 w 1601596"/>
              <a:gd name="connsiteY1" fmla="*/ 2301103 h 2301103"/>
              <a:gd name="connsiteX2" fmla="*/ 0 w 1601596"/>
              <a:gd name="connsiteY2" fmla="*/ 2301103 h 2301103"/>
              <a:gd name="connsiteX3" fmla="*/ 1601596 w 1601596"/>
              <a:gd name="connsiteY3" fmla="*/ 0 h 2301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01596" h="2301103">
                <a:moveTo>
                  <a:pt x="1601596" y="0"/>
                </a:moveTo>
                <a:lnTo>
                  <a:pt x="1601596" y="2301103"/>
                </a:lnTo>
                <a:lnTo>
                  <a:pt x="0" y="2301103"/>
                </a:lnTo>
                <a:lnTo>
                  <a:pt x="1601596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64" name="Freeform: Shape 63">
            <a:extLst>
              <a:ext uri="{FF2B5EF4-FFF2-40B4-BE49-F238E27FC236}">
                <a16:creationId xmlns:a16="http://schemas.microsoft.com/office/drawing/2014/main" id="{21C77133-AC55-4821-BC93-1DE37E9F548C}"/>
              </a:ext>
            </a:extLst>
          </p:cNvPr>
          <p:cNvSpPr/>
          <p:nvPr userDrawn="1"/>
        </p:nvSpPr>
        <p:spPr>
          <a:xfrm>
            <a:off x="9441181" y="2551058"/>
            <a:ext cx="1316572" cy="1888660"/>
          </a:xfrm>
          <a:custGeom>
            <a:avLst/>
            <a:gdLst>
              <a:gd name="connsiteX0" fmla="*/ 2042 w 1316572"/>
              <a:gd name="connsiteY0" fmla="*/ 0 h 1888660"/>
              <a:gd name="connsiteX1" fmla="*/ 1316572 w 1316572"/>
              <a:gd name="connsiteY1" fmla="*/ 1888660 h 1888660"/>
              <a:gd name="connsiteX2" fmla="*/ 0 w 1316572"/>
              <a:gd name="connsiteY2" fmla="*/ 1888660 h 1888660"/>
              <a:gd name="connsiteX3" fmla="*/ 0 w 1316572"/>
              <a:gd name="connsiteY3" fmla="*/ 2934 h 1888660"/>
              <a:gd name="connsiteX4" fmla="*/ 2042 w 1316572"/>
              <a:gd name="connsiteY4" fmla="*/ 0 h 1888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16572" h="1888660">
                <a:moveTo>
                  <a:pt x="2042" y="0"/>
                </a:moveTo>
                <a:lnTo>
                  <a:pt x="1316572" y="1888660"/>
                </a:lnTo>
                <a:lnTo>
                  <a:pt x="0" y="1888660"/>
                </a:lnTo>
                <a:lnTo>
                  <a:pt x="0" y="2934"/>
                </a:lnTo>
                <a:lnTo>
                  <a:pt x="2042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62" name="Freeform: Shape 61">
            <a:extLst>
              <a:ext uri="{FF2B5EF4-FFF2-40B4-BE49-F238E27FC236}">
                <a16:creationId xmlns:a16="http://schemas.microsoft.com/office/drawing/2014/main" id="{81AB2984-0BCE-4E53-9722-E2333C3EE5D8}"/>
              </a:ext>
            </a:extLst>
          </p:cNvPr>
          <p:cNvSpPr/>
          <p:nvPr userDrawn="1"/>
        </p:nvSpPr>
        <p:spPr>
          <a:xfrm>
            <a:off x="8128693" y="2553992"/>
            <a:ext cx="1312489" cy="1885726"/>
          </a:xfrm>
          <a:custGeom>
            <a:avLst/>
            <a:gdLst>
              <a:gd name="connsiteX0" fmla="*/ 1312489 w 1312489"/>
              <a:gd name="connsiteY0" fmla="*/ 0 h 1885726"/>
              <a:gd name="connsiteX1" fmla="*/ 1312489 w 1312489"/>
              <a:gd name="connsiteY1" fmla="*/ 1885726 h 1885726"/>
              <a:gd name="connsiteX2" fmla="*/ 0 w 1312489"/>
              <a:gd name="connsiteY2" fmla="*/ 1885726 h 1885726"/>
              <a:gd name="connsiteX3" fmla="*/ 1312489 w 1312489"/>
              <a:gd name="connsiteY3" fmla="*/ 0 h 1885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12489" h="1885726">
                <a:moveTo>
                  <a:pt x="1312489" y="0"/>
                </a:moveTo>
                <a:lnTo>
                  <a:pt x="1312489" y="1885726"/>
                </a:lnTo>
                <a:lnTo>
                  <a:pt x="0" y="1885726"/>
                </a:lnTo>
                <a:lnTo>
                  <a:pt x="1312489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61" name="Freeform: Shape 60">
            <a:extLst>
              <a:ext uri="{FF2B5EF4-FFF2-40B4-BE49-F238E27FC236}">
                <a16:creationId xmlns:a16="http://schemas.microsoft.com/office/drawing/2014/main" id="{1F4C85C5-6BA9-4436-AA8A-773EBC67E608}"/>
              </a:ext>
            </a:extLst>
          </p:cNvPr>
          <p:cNvSpPr/>
          <p:nvPr userDrawn="1"/>
        </p:nvSpPr>
        <p:spPr>
          <a:xfrm>
            <a:off x="9441181" y="2057375"/>
            <a:ext cx="1042409" cy="1494754"/>
          </a:xfrm>
          <a:custGeom>
            <a:avLst/>
            <a:gdLst>
              <a:gd name="connsiteX0" fmla="*/ 2042 w 1042409"/>
              <a:gd name="connsiteY0" fmla="*/ 0 h 1494754"/>
              <a:gd name="connsiteX1" fmla="*/ 1042409 w 1042409"/>
              <a:gd name="connsiteY1" fmla="*/ 1494754 h 1494754"/>
              <a:gd name="connsiteX2" fmla="*/ 0 w 1042409"/>
              <a:gd name="connsiteY2" fmla="*/ 1494754 h 1494754"/>
              <a:gd name="connsiteX3" fmla="*/ 0 w 1042409"/>
              <a:gd name="connsiteY3" fmla="*/ 2934 h 1494754"/>
              <a:gd name="connsiteX4" fmla="*/ 2042 w 1042409"/>
              <a:gd name="connsiteY4" fmla="*/ 0 h 1494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2409" h="1494754">
                <a:moveTo>
                  <a:pt x="2042" y="0"/>
                </a:moveTo>
                <a:lnTo>
                  <a:pt x="1042409" y="1494754"/>
                </a:lnTo>
                <a:lnTo>
                  <a:pt x="0" y="1494754"/>
                </a:lnTo>
                <a:lnTo>
                  <a:pt x="0" y="2934"/>
                </a:lnTo>
                <a:lnTo>
                  <a:pt x="2042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96A4F767-2FA6-4034-9B33-436B1534C9AC}"/>
              </a:ext>
            </a:extLst>
          </p:cNvPr>
          <p:cNvSpPr/>
          <p:nvPr userDrawn="1"/>
        </p:nvSpPr>
        <p:spPr>
          <a:xfrm>
            <a:off x="8402854" y="2060309"/>
            <a:ext cx="1038327" cy="1491820"/>
          </a:xfrm>
          <a:custGeom>
            <a:avLst/>
            <a:gdLst>
              <a:gd name="connsiteX0" fmla="*/ 1038326 w 1038326"/>
              <a:gd name="connsiteY0" fmla="*/ 0 h 1491820"/>
              <a:gd name="connsiteX1" fmla="*/ 1038326 w 1038326"/>
              <a:gd name="connsiteY1" fmla="*/ 1491820 h 1491820"/>
              <a:gd name="connsiteX2" fmla="*/ 0 w 1038326"/>
              <a:gd name="connsiteY2" fmla="*/ 1491820 h 1491820"/>
              <a:gd name="connsiteX3" fmla="*/ 1038326 w 1038326"/>
              <a:gd name="connsiteY3" fmla="*/ 0 h 1491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38326" h="1491820">
                <a:moveTo>
                  <a:pt x="1038326" y="0"/>
                </a:moveTo>
                <a:lnTo>
                  <a:pt x="1038326" y="1491820"/>
                </a:lnTo>
                <a:lnTo>
                  <a:pt x="0" y="1491820"/>
                </a:lnTo>
                <a:lnTo>
                  <a:pt x="1038326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A42BCA62-30E5-4F11-B2A2-D6005C54D58D}"/>
              </a:ext>
            </a:extLst>
          </p:cNvPr>
          <p:cNvSpPr/>
          <p:nvPr userDrawn="1"/>
        </p:nvSpPr>
        <p:spPr>
          <a:xfrm>
            <a:off x="9441181" y="1684514"/>
            <a:ext cx="684151" cy="980026"/>
          </a:xfrm>
          <a:custGeom>
            <a:avLst/>
            <a:gdLst>
              <a:gd name="connsiteX0" fmla="*/ 2040 w 684150"/>
              <a:gd name="connsiteY0" fmla="*/ 0 h 980026"/>
              <a:gd name="connsiteX1" fmla="*/ 684150 w 684150"/>
              <a:gd name="connsiteY1" fmla="*/ 980026 h 980026"/>
              <a:gd name="connsiteX2" fmla="*/ 0 w 684150"/>
              <a:gd name="connsiteY2" fmla="*/ 980026 h 980026"/>
              <a:gd name="connsiteX3" fmla="*/ 0 w 684150"/>
              <a:gd name="connsiteY3" fmla="*/ 2931 h 980026"/>
              <a:gd name="connsiteX4" fmla="*/ 2040 w 684150"/>
              <a:gd name="connsiteY4" fmla="*/ 0 h 9800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4150" h="980026">
                <a:moveTo>
                  <a:pt x="2040" y="0"/>
                </a:moveTo>
                <a:lnTo>
                  <a:pt x="684150" y="980026"/>
                </a:lnTo>
                <a:lnTo>
                  <a:pt x="0" y="980026"/>
                </a:lnTo>
                <a:lnTo>
                  <a:pt x="0" y="2931"/>
                </a:lnTo>
                <a:lnTo>
                  <a:pt x="2040" y="0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55" name="Freeform: Shape 54">
            <a:extLst>
              <a:ext uri="{FF2B5EF4-FFF2-40B4-BE49-F238E27FC236}">
                <a16:creationId xmlns:a16="http://schemas.microsoft.com/office/drawing/2014/main" id="{79C3699F-CFF5-4413-AC4F-346AA059ABFE}"/>
              </a:ext>
            </a:extLst>
          </p:cNvPr>
          <p:cNvSpPr/>
          <p:nvPr userDrawn="1"/>
        </p:nvSpPr>
        <p:spPr>
          <a:xfrm>
            <a:off x="8761110" y="1687448"/>
            <a:ext cx="680071" cy="977095"/>
          </a:xfrm>
          <a:custGeom>
            <a:avLst/>
            <a:gdLst>
              <a:gd name="connsiteX0" fmla="*/ 680070 w 680070"/>
              <a:gd name="connsiteY0" fmla="*/ 0 h 977095"/>
              <a:gd name="connsiteX1" fmla="*/ 680070 w 680070"/>
              <a:gd name="connsiteY1" fmla="*/ 977095 h 977095"/>
              <a:gd name="connsiteX2" fmla="*/ 0 w 680070"/>
              <a:gd name="connsiteY2" fmla="*/ 977095 h 977095"/>
              <a:gd name="connsiteX3" fmla="*/ 680070 w 680070"/>
              <a:gd name="connsiteY3" fmla="*/ 0 h 977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0070" h="977095">
                <a:moveTo>
                  <a:pt x="680070" y="0"/>
                </a:moveTo>
                <a:lnTo>
                  <a:pt x="680070" y="977095"/>
                </a:lnTo>
                <a:lnTo>
                  <a:pt x="0" y="977095"/>
                </a:lnTo>
                <a:lnTo>
                  <a:pt x="68007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01F1A0F6-2297-4224-83DD-FD2381D7ECE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326063"/>
            <a:ext cx="6066837" cy="876300"/>
          </a:xfrm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85" name="Text Placeholder 20">
            <a:extLst>
              <a:ext uri="{FF2B5EF4-FFF2-40B4-BE49-F238E27FC236}">
                <a16:creationId xmlns:a16="http://schemas.microsoft.com/office/drawing/2014/main" id="{1823CD43-46BA-416F-B02E-FCDB904EB9A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28801" y="4449763"/>
            <a:ext cx="5746751" cy="876300"/>
          </a:xfrm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86" name="Text Placeholder 20">
            <a:extLst>
              <a:ext uri="{FF2B5EF4-FFF2-40B4-BE49-F238E27FC236}">
                <a16:creationId xmlns:a16="http://schemas.microsoft.com/office/drawing/2014/main" id="{80130147-CE43-441A-BAD2-701D49DCA73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421449" y="3574709"/>
            <a:ext cx="5442803" cy="849655"/>
          </a:xfrm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87" name="Text Placeholder 20">
            <a:extLst>
              <a:ext uri="{FF2B5EF4-FFF2-40B4-BE49-F238E27FC236}">
                <a16:creationId xmlns:a16="http://schemas.microsoft.com/office/drawing/2014/main" id="{6EA186D0-9F5E-454B-9BF9-26CBD44AB4A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35300" y="2673009"/>
            <a:ext cx="5265955" cy="849655"/>
          </a:xfrm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89" name="Text Placeholder 20">
            <a:extLst>
              <a:ext uri="{FF2B5EF4-FFF2-40B4-BE49-F238E27FC236}">
                <a16:creationId xmlns:a16="http://schemas.microsoft.com/office/drawing/2014/main" id="{EA208D56-A1CC-4B8E-9220-A1FE158CA3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6801" y="1796709"/>
            <a:ext cx="5052711" cy="849655"/>
          </a:xfrm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15300260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964FAF-7BFE-8BE5-4A42-BD429580A3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097F333-CA2C-5238-111A-EEA5CDDDF1C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168B4CE-AD39-1C9F-7334-FA1AB2DACCA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488C4ED-8726-F51F-0D80-2CDD42B25F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6312C-EAFF-4BED-94F5-BEE52E89B31E}" type="datetimeFigureOut">
              <a:rPr lang="en-US" smtClean="0"/>
              <a:t>2/14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3A460E9-7F27-0AB3-BAF2-9C6CA00D37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98B2C95-B8B5-7A7A-0012-EACA3933C3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EEC150-AE8D-49EF-81A6-13FC777E18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249575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peak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0BBE1DCD-7CA2-4BD6-9298-8D0F46F388C3}"/>
              </a:ext>
            </a:extLst>
          </p:cNvPr>
          <p:cNvSpPr/>
          <p:nvPr userDrawn="1"/>
        </p:nvSpPr>
        <p:spPr>
          <a:xfrm>
            <a:off x="2621282" y="1819276"/>
            <a:ext cx="3383279" cy="2785242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30D6526-B985-4F10-AEE0-BD8D53170111}"/>
              </a:ext>
            </a:extLst>
          </p:cNvPr>
          <p:cNvSpPr/>
          <p:nvPr/>
        </p:nvSpPr>
        <p:spPr>
          <a:xfrm>
            <a:off x="3138015" y="1819276"/>
            <a:ext cx="258368" cy="4572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C601F0B-C8F0-4800-BA71-66A2B1EAA6AC}"/>
              </a:ext>
            </a:extLst>
          </p:cNvPr>
          <p:cNvSpPr/>
          <p:nvPr/>
        </p:nvSpPr>
        <p:spPr>
          <a:xfrm>
            <a:off x="2621280" y="1819276"/>
            <a:ext cx="258368" cy="457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A827D9C-9FC5-4EDF-BC6F-20EE9685A3E0}"/>
              </a:ext>
            </a:extLst>
          </p:cNvPr>
          <p:cNvSpPr/>
          <p:nvPr/>
        </p:nvSpPr>
        <p:spPr>
          <a:xfrm>
            <a:off x="2879648" y="1819276"/>
            <a:ext cx="258368" cy="4572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6847B94-CDDB-481F-AD0D-204D32C458E4}"/>
              </a:ext>
            </a:extLst>
          </p:cNvPr>
          <p:cNvSpPr/>
          <p:nvPr/>
        </p:nvSpPr>
        <p:spPr>
          <a:xfrm>
            <a:off x="5746192" y="4558798"/>
            <a:ext cx="258368" cy="4572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B1EC0A0-A170-4267-98F2-A3A51CBEE763}"/>
              </a:ext>
            </a:extLst>
          </p:cNvPr>
          <p:cNvSpPr/>
          <p:nvPr/>
        </p:nvSpPr>
        <p:spPr>
          <a:xfrm>
            <a:off x="5229457" y="4558798"/>
            <a:ext cx="258368" cy="457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99383FE-3310-4C18-8F4B-B272262DECB3}"/>
              </a:ext>
            </a:extLst>
          </p:cNvPr>
          <p:cNvSpPr/>
          <p:nvPr/>
        </p:nvSpPr>
        <p:spPr>
          <a:xfrm>
            <a:off x="5487825" y="4558798"/>
            <a:ext cx="258368" cy="4572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4A0525C-39ED-4181-8FB9-7C9009B72360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838200" y="365127"/>
            <a:ext cx="10515600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D6C439D-2456-411A-9ECA-221CABEA5A59}"/>
              </a:ext>
            </a:extLst>
          </p:cNvPr>
          <p:cNvSpPr>
            <a:spLocks noGrp="1"/>
          </p:cNvSpPr>
          <p:nvPr userDrawn="1">
            <p:ph type="pic" sz="quarter" idx="10"/>
          </p:nvPr>
        </p:nvSpPr>
        <p:spPr>
          <a:xfrm>
            <a:off x="2766307" y="1980170"/>
            <a:ext cx="3093228" cy="2463454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/>
            </a:lvl1pPr>
          </a:lstStyle>
          <a:p>
            <a:endParaRPr lang="en-IN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2801FC-E55A-4F57-A034-B08C36DB08F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2621280" y="4719694"/>
            <a:ext cx="3383280" cy="39652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Insert Name here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3E151FF5-AF09-43A8-B64E-E090D07A5791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6187440" y="4719694"/>
            <a:ext cx="3383280" cy="39652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Insert Name here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532EDEA-8585-4A2B-A339-8C9038E5E9F2}"/>
              </a:ext>
            </a:extLst>
          </p:cNvPr>
          <p:cNvSpPr/>
          <p:nvPr userDrawn="1"/>
        </p:nvSpPr>
        <p:spPr>
          <a:xfrm>
            <a:off x="6187442" y="1819276"/>
            <a:ext cx="3383279" cy="2785242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4CA917B4-408D-4FA3-9EB2-56A1AA3F58EE}"/>
              </a:ext>
            </a:extLst>
          </p:cNvPr>
          <p:cNvSpPr/>
          <p:nvPr/>
        </p:nvSpPr>
        <p:spPr>
          <a:xfrm>
            <a:off x="6704175" y="1819276"/>
            <a:ext cx="258368" cy="4572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471ADA2E-3FA3-49BE-BF7B-F76EB516082C}"/>
              </a:ext>
            </a:extLst>
          </p:cNvPr>
          <p:cNvSpPr/>
          <p:nvPr/>
        </p:nvSpPr>
        <p:spPr>
          <a:xfrm>
            <a:off x="6187440" y="1819276"/>
            <a:ext cx="258368" cy="457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78BCCC2-4C9A-48DA-B9A7-9262BCAE710D}"/>
              </a:ext>
            </a:extLst>
          </p:cNvPr>
          <p:cNvSpPr/>
          <p:nvPr/>
        </p:nvSpPr>
        <p:spPr>
          <a:xfrm>
            <a:off x="6445808" y="1819276"/>
            <a:ext cx="258368" cy="4572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1F13529-B3EC-48DF-ABE9-5DAE017C6575}"/>
              </a:ext>
            </a:extLst>
          </p:cNvPr>
          <p:cNvSpPr/>
          <p:nvPr/>
        </p:nvSpPr>
        <p:spPr>
          <a:xfrm>
            <a:off x="9312352" y="4558798"/>
            <a:ext cx="258368" cy="4572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E823BDA5-BE2F-4AD7-833B-4349DAFE80AC}"/>
              </a:ext>
            </a:extLst>
          </p:cNvPr>
          <p:cNvSpPr/>
          <p:nvPr/>
        </p:nvSpPr>
        <p:spPr>
          <a:xfrm>
            <a:off x="8795617" y="4558798"/>
            <a:ext cx="258368" cy="457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A9A67D16-BE65-4F7B-8EB8-3CD7A901D636}"/>
              </a:ext>
            </a:extLst>
          </p:cNvPr>
          <p:cNvSpPr/>
          <p:nvPr/>
        </p:nvSpPr>
        <p:spPr>
          <a:xfrm>
            <a:off x="9053985" y="4558798"/>
            <a:ext cx="258368" cy="4572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5" name="Picture Placeholder 4">
            <a:extLst>
              <a:ext uri="{FF2B5EF4-FFF2-40B4-BE49-F238E27FC236}">
                <a16:creationId xmlns:a16="http://schemas.microsoft.com/office/drawing/2014/main" id="{BCE11941-DD95-48DD-BCD6-C3A61D312855}"/>
              </a:ext>
            </a:extLst>
          </p:cNvPr>
          <p:cNvSpPr>
            <a:spLocks noGrp="1"/>
          </p:cNvSpPr>
          <p:nvPr userDrawn="1">
            <p:ph type="pic" sz="quarter" idx="16"/>
          </p:nvPr>
        </p:nvSpPr>
        <p:spPr>
          <a:xfrm>
            <a:off x="6332467" y="1980170"/>
            <a:ext cx="3093228" cy="2463454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/>
            </a:lvl1pPr>
          </a:lstStyle>
          <a:p>
            <a:endParaRPr lang="en-IN"/>
          </a:p>
        </p:txBody>
      </p:sp>
      <p:sp>
        <p:nvSpPr>
          <p:cNvPr id="57" name="Text Placeholder 20">
            <a:extLst>
              <a:ext uri="{FF2B5EF4-FFF2-40B4-BE49-F238E27FC236}">
                <a16:creationId xmlns:a16="http://schemas.microsoft.com/office/drawing/2014/main" id="{EE8D89F5-7513-40CB-BC40-25B4BCDCC316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2621280" y="5192063"/>
            <a:ext cx="3383280" cy="39652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Add text here</a:t>
            </a:r>
          </a:p>
        </p:txBody>
      </p:sp>
      <p:sp>
        <p:nvSpPr>
          <p:cNvPr id="58" name="Text Placeholder 20">
            <a:extLst>
              <a:ext uri="{FF2B5EF4-FFF2-40B4-BE49-F238E27FC236}">
                <a16:creationId xmlns:a16="http://schemas.microsoft.com/office/drawing/2014/main" id="{371BE5B1-0318-43CC-BB05-E1842A8B42E8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6187440" y="5192063"/>
            <a:ext cx="3383280" cy="39652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Add text here</a:t>
            </a:r>
          </a:p>
        </p:txBody>
      </p:sp>
    </p:spTree>
    <p:extLst>
      <p:ext uri="{BB962C8B-B14F-4D97-AF65-F5344CB8AC3E}">
        <p14:creationId xmlns:p14="http://schemas.microsoft.com/office/powerpoint/2010/main" val="409102554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Speak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0BBE1DCD-7CA2-4BD6-9298-8D0F46F388C3}"/>
              </a:ext>
            </a:extLst>
          </p:cNvPr>
          <p:cNvSpPr/>
          <p:nvPr userDrawn="1"/>
        </p:nvSpPr>
        <p:spPr>
          <a:xfrm>
            <a:off x="838202" y="1819276"/>
            <a:ext cx="3383279" cy="2785242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30D6526-B985-4F10-AEE0-BD8D53170111}"/>
              </a:ext>
            </a:extLst>
          </p:cNvPr>
          <p:cNvSpPr/>
          <p:nvPr/>
        </p:nvSpPr>
        <p:spPr>
          <a:xfrm>
            <a:off x="1354935" y="1819276"/>
            <a:ext cx="258368" cy="4572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C601F0B-C8F0-4800-BA71-66A2B1EAA6AC}"/>
              </a:ext>
            </a:extLst>
          </p:cNvPr>
          <p:cNvSpPr/>
          <p:nvPr/>
        </p:nvSpPr>
        <p:spPr>
          <a:xfrm>
            <a:off x="838200" y="1819276"/>
            <a:ext cx="258368" cy="457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A827D9C-9FC5-4EDF-BC6F-20EE9685A3E0}"/>
              </a:ext>
            </a:extLst>
          </p:cNvPr>
          <p:cNvSpPr/>
          <p:nvPr/>
        </p:nvSpPr>
        <p:spPr>
          <a:xfrm>
            <a:off x="1096568" y="1819276"/>
            <a:ext cx="258368" cy="4572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6847B94-CDDB-481F-AD0D-204D32C458E4}"/>
              </a:ext>
            </a:extLst>
          </p:cNvPr>
          <p:cNvSpPr/>
          <p:nvPr/>
        </p:nvSpPr>
        <p:spPr>
          <a:xfrm>
            <a:off x="3963112" y="4558798"/>
            <a:ext cx="258368" cy="4572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B1EC0A0-A170-4267-98F2-A3A51CBEE763}"/>
              </a:ext>
            </a:extLst>
          </p:cNvPr>
          <p:cNvSpPr/>
          <p:nvPr/>
        </p:nvSpPr>
        <p:spPr>
          <a:xfrm>
            <a:off x="3446377" y="4558798"/>
            <a:ext cx="258368" cy="457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99383FE-3310-4C18-8F4B-B272262DECB3}"/>
              </a:ext>
            </a:extLst>
          </p:cNvPr>
          <p:cNvSpPr/>
          <p:nvPr/>
        </p:nvSpPr>
        <p:spPr>
          <a:xfrm>
            <a:off x="3704745" y="4558798"/>
            <a:ext cx="258368" cy="4572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4A0525C-39ED-4181-8FB9-7C9009B72360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838200" y="365127"/>
            <a:ext cx="10515600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D6C439D-2456-411A-9ECA-221CABEA5A59}"/>
              </a:ext>
            </a:extLst>
          </p:cNvPr>
          <p:cNvSpPr>
            <a:spLocks noGrp="1"/>
          </p:cNvSpPr>
          <p:nvPr userDrawn="1">
            <p:ph type="pic" sz="quarter" idx="10"/>
          </p:nvPr>
        </p:nvSpPr>
        <p:spPr>
          <a:xfrm>
            <a:off x="983227" y="1980170"/>
            <a:ext cx="3093228" cy="2463454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/>
            </a:lvl1pPr>
          </a:lstStyle>
          <a:p>
            <a:endParaRPr lang="en-IN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2801FC-E55A-4F57-A034-B08C36DB08F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838200" y="4719694"/>
            <a:ext cx="3383280" cy="39652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Add text here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3E151FF5-AF09-43A8-B64E-E090D07A5791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404360" y="4719694"/>
            <a:ext cx="3383280" cy="39652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Add text here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4ABD89F3-44C9-4E9B-812E-5F6FFBD0938C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7970520" y="4719694"/>
            <a:ext cx="3383280" cy="39652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Add text here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532EDEA-8585-4A2B-A339-8C9038E5E9F2}"/>
              </a:ext>
            </a:extLst>
          </p:cNvPr>
          <p:cNvSpPr/>
          <p:nvPr userDrawn="1"/>
        </p:nvSpPr>
        <p:spPr>
          <a:xfrm>
            <a:off x="4404362" y="1819276"/>
            <a:ext cx="3383279" cy="2785242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4CA917B4-408D-4FA3-9EB2-56A1AA3F58EE}"/>
              </a:ext>
            </a:extLst>
          </p:cNvPr>
          <p:cNvSpPr/>
          <p:nvPr/>
        </p:nvSpPr>
        <p:spPr>
          <a:xfrm>
            <a:off x="4921095" y="1819276"/>
            <a:ext cx="258368" cy="4572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471ADA2E-3FA3-49BE-BF7B-F76EB516082C}"/>
              </a:ext>
            </a:extLst>
          </p:cNvPr>
          <p:cNvSpPr/>
          <p:nvPr/>
        </p:nvSpPr>
        <p:spPr>
          <a:xfrm>
            <a:off x="4404360" y="1819276"/>
            <a:ext cx="258368" cy="457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78BCCC2-4C9A-48DA-B9A7-9262BCAE710D}"/>
              </a:ext>
            </a:extLst>
          </p:cNvPr>
          <p:cNvSpPr/>
          <p:nvPr/>
        </p:nvSpPr>
        <p:spPr>
          <a:xfrm>
            <a:off x="4662728" y="1819276"/>
            <a:ext cx="258368" cy="4572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1F13529-B3EC-48DF-ABE9-5DAE017C6575}"/>
              </a:ext>
            </a:extLst>
          </p:cNvPr>
          <p:cNvSpPr/>
          <p:nvPr/>
        </p:nvSpPr>
        <p:spPr>
          <a:xfrm>
            <a:off x="7529272" y="4558798"/>
            <a:ext cx="258368" cy="4572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E823BDA5-BE2F-4AD7-833B-4349DAFE80AC}"/>
              </a:ext>
            </a:extLst>
          </p:cNvPr>
          <p:cNvSpPr/>
          <p:nvPr/>
        </p:nvSpPr>
        <p:spPr>
          <a:xfrm>
            <a:off x="7012537" y="4558798"/>
            <a:ext cx="258368" cy="457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A9A67D16-BE65-4F7B-8EB8-3CD7A901D636}"/>
              </a:ext>
            </a:extLst>
          </p:cNvPr>
          <p:cNvSpPr/>
          <p:nvPr/>
        </p:nvSpPr>
        <p:spPr>
          <a:xfrm>
            <a:off x="7270905" y="4558798"/>
            <a:ext cx="258368" cy="4572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5" name="Picture Placeholder 4">
            <a:extLst>
              <a:ext uri="{FF2B5EF4-FFF2-40B4-BE49-F238E27FC236}">
                <a16:creationId xmlns:a16="http://schemas.microsoft.com/office/drawing/2014/main" id="{BCE11941-DD95-48DD-BCD6-C3A61D312855}"/>
              </a:ext>
            </a:extLst>
          </p:cNvPr>
          <p:cNvSpPr>
            <a:spLocks noGrp="1"/>
          </p:cNvSpPr>
          <p:nvPr userDrawn="1">
            <p:ph type="pic" sz="quarter" idx="16"/>
          </p:nvPr>
        </p:nvSpPr>
        <p:spPr>
          <a:xfrm>
            <a:off x="4549387" y="1980170"/>
            <a:ext cx="3093228" cy="2463454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/>
            </a:lvl1pPr>
          </a:lstStyle>
          <a:p>
            <a:endParaRPr lang="en-IN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BE4B986E-900D-47CC-8CBF-CC5A56176E4D}"/>
              </a:ext>
            </a:extLst>
          </p:cNvPr>
          <p:cNvSpPr/>
          <p:nvPr userDrawn="1"/>
        </p:nvSpPr>
        <p:spPr>
          <a:xfrm>
            <a:off x="7970522" y="1819276"/>
            <a:ext cx="3383279" cy="2785242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4069BE6B-479F-4B3F-9793-288ED56161C4}"/>
              </a:ext>
            </a:extLst>
          </p:cNvPr>
          <p:cNvSpPr/>
          <p:nvPr/>
        </p:nvSpPr>
        <p:spPr>
          <a:xfrm>
            <a:off x="8487255" y="1819276"/>
            <a:ext cx="258368" cy="4572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615615D6-FDAB-4FC5-ACC4-B39FF9562BA5}"/>
              </a:ext>
            </a:extLst>
          </p:cNvPr>
          <p:cNvSpPr/>
          <p:nvPr/>
        </p:nvSpPr>
        <p:spPr>
          <a:xfrm>
            <a:off x="7970520" y="1819276"/>
            <a:ext cx="258368" cy="457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89953E9-77A7-4CF8-9F30-7D88723FD331}"/>
              </a:ext>
            </a:extLst>
          </p:cNvPr>
          <p:cNvSpPr/>
          <p:nvPr/>
        </p:nvSpPr>
        <p:spPr>
          <a:xfrm>
            <a:off x="8228888" y="1819276"/>
            <a:ext cx="258368" cy="4572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67C41D71-71D6-438D-BAB6-1051201E59A4}"/>
              </a:ext>
            </a:extLst>
          </p:cNvPr>
          <p:cNvSpPr/>
          <p:nvPr/>
        </p:nvSpPr>
        <p:spPr>
          <a:xfrm>
            <a:off x="11095432" y="4558798"/>
            <a:ext cx="258368" cy="4572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4C0483FF-788B-4ED7-A6B4-5CFBBA51029D}"/>
              </a:ext>
            </a:extLst>
          </p:cNvPr>
          <p:cNvSpPr/>
          <p:nvPr/>
        </p:nvSpPr>
        <p:spPr>
          <a:xfrm>
            <a:off x="10578697" y="4558798"/>
            <a:ext cx="258368" cy="457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5C1D73D8-F7E3-4999-9487-2DBD5EE48759}"/>
              </a:ext>
            </a:extLst>
          </p:cNvPr>
          <p:cNvSpPr/>
          <p:nvPr/>
        </p:nvSpPr>
        <p:spPr>
          <a:xfrm>
            <a:off x="10837065" y="4558798"/>
            <a:ext cx="258368" cy="4572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6" name="Picture Placeholder 4">
            <a:extLst>
              <a:ext uri="{FF2B5EF4-FFF2-40B4-BE49-F238E27FC236}">
                <a16:creationId xmlns:a16="http://schemas.microsoft.com/office/drawing/2014/main" id="{4F4CE3B0-1060-4BFF-AD25-C8A4D9A5E46C}"/>
              </a:ext>
            </a:extLst>
          </p:cNvPr>
          <p:cNvSpPr>
            <a:spLocks noGrp="1"/>
          </p:cNvSpPr>
          <p:nvPr userDrawn="1">
            <p:ph type="pic" sz="quarter" idx="17"/>
          </p:nvPr>
        </p:nvSpPr>
        <p:spPr>
          <a:xfrm>
            <a:off x="8115547" y="1980170"/>
            <a:ext cx="3093228" cy="2463454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/>
            </a:lvl1pPr>
          </a:lstStyle>
          <a:p>
            <a:endParaRPr lang="en-IN"/>
          </a:p>
        </p:txBody>
      </p:sp>
      <p:sp>
        <p:nvSpPr>
          <p:cNvPr id="57" name="Text Placeholder 20">
            <a:extLst>
              <a:ext uri="{FF2B5EF4-FFF2-40B4-BE49-F238E27FC236}">
                <a16:creationId xmlns:a16="http://schemas.microsoft.com/office/drawing/2014/main" id="{EE8D89F5-7513-40CB-BC40-25B4BCDCC316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838200" y="5192063"/>
            <a:ext cx="3383280" cy="39652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Add text here</a:t>
            </a:r>
          </a:p>
        </p:txBody>
      </p:sp>
      <p:sp>
        <p:nvSpPr>
          <p:cNvPr id="58" name="Text Placeholder 20">
            <a:extLst>
              <a:ext uri="{FF2B5EF4-FFF2-40B4-BE49-F238E27FC236}">
                <a16:creationId xmlns:a16="http://schemas.microsoft.com/office/drawing/2014/main" id="{371BE5B1-0318-43CC-BB05-E1842A8B42E8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4404360" y="5192063"/>
            <a:ext cx="3383280" cy="39652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Add text here</a:t>
            </a:r>
          </a:p>
        </p:txBody>
      </p:sp>
      <p:sp>
        <p:nvSpPr>
          <p:cNvPr id="59" name="Text Placeholder 20">
            <a:extLst>
              <a:ext uri="{FF2B5EF4-FFF2-40B4-BE49-F238E27FC236}">
                <a16:creationId xmlns:a16="http://schemas.microsoft.com/office/drawing/2014/main" id="{4981B6D6-8BA6-4210-966A-3A802728DC53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7970520" y="5192063"/>
            <a:ext cx="3383280" cy="39652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Add text here</a:t>
            </a:r>
          </a:p>
        </p:txBody>
      </p:sp>
    </p:spTree>
    <p:extLst>
      <p:ext uri="{BB962C8B-B14F-4D97-AF65-F5344CB8AC3E}">
        <p14:creationId xmlns:p14="http://schemas.microsoft.com/office/powerpoint/2010/main" val="85405476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Speak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A0525C-39ED-4181-8FB9-7C9009B72360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838200" y="365127"/>
            <a:ext cx="10515600" cy="88945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2801FC-E55A-4F57-A034-B08C36DB08F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949217" y="4980956"/>
            <a:ext cx="2791097" cy="39652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Insert Name here</a:t>
            </a:r>
          </a:p>
        </p:txBody>
      </p:sp>
      <p:sp>
        <p:nvSpPr>
          <p:cNvPr id="57" name="Text Placeholder 20">
            <a:extLst>
              <a:ext uri="{FF2B5EF4-FFF2-40B4-BE49-F238E27FC236}">
                <a16:creationId xmlns:a16="http://schemas.microsoft.com/office/drawing/2014/main" id="{EE8D89F5-7513-40CB-BC40-25B4BCDCC316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949217" y="5453325"/>
            <a:ext cx="2791097" cy="39652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Add text here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AA1ADA2A-CD30-4298-B8B6-96888050A280}"/>
              </a:ext>
            </a:extLst>
          </p:cNvPr>
          <p:cNvGrpSpPr/>
          <p:nvPr userDrawn="1"/>
        </p:nvGrpSpPr>
        <p:grpSpPr>
          <a:xfrm rot="2582261">
            <a:off x="709203" y="1422075"/>
            <a:ext cx="3130124" cy="3130124"/>
            <a:chOff x="5930258" y="4468562"/>
            <a:chExt cx="763252" cy="763252"/>
          </a:xfrm>
        </p:grpSpPr>
        <p:sp>
          <p:nvSpPr>
            <p:cNvPr id="48" name="Partial Circle 47">
              <a:extLst>
                <a:ext uri="{FF2B5EF4-FFF2-40B4-BE49-F238E27FC236}">
                  <a16:creationId xmlns:a16="http://schemas.microsoft.com/office/drawing/2014/main" id="{A8E3C65A-8208-46AA-8F76-0A3B870E276E}"/>
                </a:ext>
              </a:extLst>
            </p:cNvPr>
            <p:cNvSpPr/>
            <p:nvPr userDrawn="1"/>
          </p:nvSpPr>
          <p:spPr>
            <a:xfrm rot="2790835">
              <a:off x="5930258" y="4468562"/>
              <a:ext cx="763252" cy="763252"/>
            </a:xfrm>
            <a:prstGeom prst="pie">
              <a:avLst>
                <a:gd name="adj1" fmla="val 16334731"/>
                <a:gd name="adj2" fmla="val 19152861"/>
              </a:avLst>
            </a:prstGeom>
            <a:solidFill>
              <a:schemeClr val="accent1"/>
            </a:solidFill>
            <a:ln>
              <a:noFill/>
            </a:ln>
            <a:effectLst>
              <a:outerShdw blurRad="25400" dist="12700" dir="2700000" algn="tl" rotWithShape="0">
                <a:schemeClr val="tx1">
                  <a:lumMod val="60000"/>
                  <a:lumOff val="40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IN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49" name="Partial Circle 48">
              <a:extLst>
                <a:ext uri="{FF2B5EF4-FFF2-40B4-BE49-F238E27FC236}">
                  <a16:creationId xmlns:a16="http://schemas.microsoft.com/office/drawing/2014/main" id="{215FE5B4-4D70-4B7F-96D4-7C73AF946293}"/>
                </a:ext>
              </a:extLst>
            </p:cNvPr>
            <p:cNvSpPr/>
            <p:nvPr userDrawn="1"/>
          </p:nvSpPr>
          <p:spPr>
            <a:xfrm rot="5588732">
              <a:off x="5930258" y="4468562"/>
              <a:ext cx="763252" cy="763252"/>
            </a:xfrm>
            <a:prstGeom prst="pie">
              <a:avLst>
                <a:gd name="adj1" fmla="val 16334731"/>
                <a:gd name="adj2" fmla="val 19152861"/>
              </a:avLst>
            </a:prstGeom>
            <a:solidFill>
              <a:schemeClr val="accent2"/>
            </a:solidFill>
            <a:ln>
              <a:noFill/>
            </a:ln>
            <a:effectLst>
              <a:outerShdw blurRad="25400" dist="12700" dir="2700000" algn="tl" rotWithShape="0">
                <a:schemeClr val="tx1">
                  <a:lumMod val="60000"/>
                  <a:lumOff val="40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IN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50" name="Partial Circle 49">
              <a:extLst>
                <a:ext uri="{FF2B5EF4-FFF2-40B4-BE49-F238E27FC236}">
                  <a16:creationId xmlns:a16="http://schemas.microsoft.com/office/drawing/2014/main" id="{CB482223-4ABC-4B8F-A4AD-F9D16741083C}"/>
                </a:ext>
              </a:extLst>
            </p:cNvPr>
            <p:cNvSpPr/>
            <p:nvPr userDrawn="1"/>
          </p:nvSpPr>
          <p:spPr>
            <a:xfrm>
              <a:off x="5930258" y="4468562"/>
              <a:ext cx="763252" cy="763252"/>
            </a:xfrm>
            <a:prstGeom prst="pie">
              <a:avLst>
                <a:gd name="adj1" fmla="val 16334731"/>
                <a:gd name="adj2" fmla="val 19152861"/>
              </a:avLst>
            </a:prstGeom>
            <a:solidFill>
              <a:schemeClr val="tx2"/>
            </a:solidFill>
            <a:ln>
              <a:noFill/>
            </a:ln>
            <a:effectLst>
              <a:outerShdw blurRad="25400" dist="12700" dir="2700000" algn="tl" rotWithShape="0">
                <a:schemeClr val="tx1">
                  <a:lumMod val="60000"/>
                  <a:lumOff val="40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IN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51" name="Oval 50">
            <a:extLst>
              <a:ext uri="{FF2B5EF4-FFF2-40B4-BE49-F238E27FC236}">
                <a16:creationId xmlns:a16="http://schemas.microsoft.com/office/drawing/2014/main" id="{0D21667D-2357-487E-BFBF-4A0D0D4CE775}"/>
              </a:ext>
            </a:extLst>
          </p:cNvPr>
          <p:cNvSpPr/>
          <p:nvPr userDrawn="1"/>
        </p:nvSpPr>
        <p:spPr>
          <a:xfrm>
            <a:off x="839873" y="1552745"/>
            <a:ext cx="2868784" cy="2868784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noFill/>
          </a:ln>
          <a:effectLst>
            <a:outerShdw blurRad="38100" dist="25400" dir="2700000" algn="tl" rotWithShape="0">
              <a:prstClr val="black">
                <a:alpha val="1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52" name="Picture Placeholder 12">
            <a:extLst>
              <a:ext uri="{FF2B5EF4-FFF2-40B4-BE49-F238E27FC236}">
                <a16:creationId xmlns:a16="http://schemas.microsoft.com/office/drawing/2014/main" id="{64481007-EA44-4908-927D-429E563CC61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92699" y="1806992"/>
            <a:ext cx="2363132" cy="2360290"/>
          </a:xfrm>
          <a:prstGeom prst="ellipse">
            <a:avLst/>
          </a:prstGeom>
          <a:ln>
            <a:solidFill>
              <a:schemeClr val="bg1">
                <a:lumMod val="95000"/>
              </a:schemeClr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IN" dirty="0"/>
          </a:p>
        </p:txBody>
      </p:sp>
      <p:sp>
        <p:nvSpPr>
          <p:cNvPr id="53" name="Text Placeholder 31">
            <a:extLst>
              <a:ext uri="{FF2B5EF4-FFF2-40B4-BE49-F238E27FC236}">
                <a16:creationId xmlns:a16="http://schemas.microsoft.com/office/drawing/2014/main" id="{ECAB0DC0-8D87-4394-BF4E-3DBD683D393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739125" y="1798640"/>
            <a:ext cx="6613003" cy="44037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738576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peak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0BBE1DCD-7CA2-4BD6-9298-8D0F46F388C3}"/>
              </a:ext>
            </a:extLst>
          </p:cNvPr>
          <p:cNvSpPr/>
          <p:nvPr userDrawn="1"/>
        </p:nvSpPr>
        <p:spPr>
          <a:xfrm>
            <a:off x="838202" y="1819275"/>
            <a:ext cx="3383279" cy="4315517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30D6526-B985-4F10-AEE0-BD8D53170111}"/>
              </a:ext>
            </a:extLst>
          </p:cNvPr>
          <p:cNvSpPr/>
          <p:nvPr/>
        </p:nvSpPr>
        <p:spPr>
          <a:xfrm>
            <a:off x="1354935" y="1819276"/>
            <a:ext cx="258368" cy="4572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C601F0B-C8F0-4800-BA71-66A2B1EAA6AC}"/>
              </a:ext>
            </a:extLst>
          </p:cNvPr>
          <p:cNvSpPr/>
          <p:nvPr/>
        </p:nvSpPr>
        <p:spPr>
          <a:xfrm>
            <a:off x="838200" y="1819276"/>
            <a:ext cx="258368" cy="457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A827D9C-9FC5-4EDF-BC6F-20EE9685A3E0}"/>
              </a:ext>
            </a:extLst>
          </p:cNvPr>
          <p:cNvSpPr/>
          <p:nvPr/>
        </p:nvSpPr>
        <p:spPr>
          <a:xfrm>
            <a:off x="1096568" y="1819276"/>
            <a:ext cx="258368" cy="4572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6847B94-CDDB-481F-AD0D-204D32C458E4}"/>
              </a:ext>
            </a:extLst>
          </p:cNvPr>
          <p:cNvSpPr/>
          <p:nvPr/>
        </p:nvSpPr>
        <p:spPr>
          <a:xfrm>
            <a:off x="3963112" y="6121581"/>
            <a:ext cx="258368" cy="4572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B1EC0A0-A170-4267-98F2-A3A51CBEE763}"/>
              </a:ext>
            </a:extLst>
          </p:cNvPr>
          <p:cNvSpPr/>
          <p:nvPr/>
        </p:nvSpPr>
        <p:spPr>
          <a:xfrm>
            <a:off x="3446377" y="6121581"/>
            <a:ext cx="258368" cy="457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99383FE-3310-4C18-8F4B-B272262DECB3}"/>
              </a:ext>
            </a:extLst>
          </p:cNvPr>
          <p:cNvSpPr/>
          <p:nvPr/>
        </p:nvSpPr>
        <p:spPr>
          <a:xfrm>
            <a:off x="3704745" y="6121581"/>
            <a:ext cx="258368" cy="4572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4A0525C-39ED-4181-8FB9-7C9009B72360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838200" y="365127"/>
            <a:ext cx="10515600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D6C439D-2456-411A-9ECA-221CABEA5A59}"/>
              </a:ext>
            </a:extLst>
          </p:cNvPr>
          <p:cNvSpPr>
            <a:spLocks noGrp="1"/>
          </p:cNvSpPr>
          <p:nvPr userDrawn="1">
            <p:ph type="pic" sz="quarter" idx="10"/>
          </p:nvPr>
        </p:nvSpPr>
        <p:spPr>
          <a:xfrm>
            <a:off x="983227" y="1980170"/>
            <a:ext cx="3093228" cy="4012826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/>
            </a:lvl1pPr>
          </a:lstStyle>
          <a:p>
            <a:endParaRPr lang="en-IN"/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3E151FF5-AF09-43A8-B64E-E090D07A5791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404360" y="4719694"/>
            <a:ext cx="3383280" cy="39652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Add text here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4ABD89F3-44C9-4E9B-812E-5F6FFBD0938C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7970520" y="4719694"/>
            <a:ext cx="3383280" cy="39652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Add text here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532EDEA-8585-4A2B-A339-8C9038E5E9F2}"/>
              </a:ext>
            </a:extLst>
          </p:cNvPr>
          <p:cNvSpPr/>
          <p:nvPr userDrawn="1"/>
        </p:nvSpPr>
        <p:spPr>
          <a:xfrm>
            <a:off x="4404362" y="1819276"/>
            <a:ext cx="3383279" cy="2785242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4CA917B4-408D-4FA3-9EB2-56A1AA3F58EE}"/>
              </a:ext>
            </a:extLst>
          </p:cNvPr>
          <p:cNvSpPr/>
          <p:nvPr/>
        </p:nvSpPr>
        <p:spPr>
          <a:xfrm>
            <a:off x="4921095" y="1819276"/>
            <a:ext cx="258368" cy="4572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471ADA2E-3FA3-49BE-BF7B-F76EB516082C}"/>
              </a:ext>
            </a:extLst>
          </p:cNvPr>
          <p:cNvSpPr/>
          <p:nvPr/>
        </p:nvSpPr>
        <p:spPr>
          <a:xfrm>
            <a:off x="4404360" y="1819276"/>
            <a:ext cx="258368" cy="457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78BCCC2-4C9A-48DA-B9A7-9262BCAE710D}"/>
              </a:ext>
            </a:extLst>
          </p:cNvPr>
          <p:cNvSpPr/>
          <p:nvPr/>
        </p:nvSpPr>
        <p:spPr>
          <a:xfrm>
            <a:off x="4662728" y="1819276"/>
            <a:ext cx="258368" cy="4572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1F13529-B3EC-48DF-ABE9-5DAE017C6575}"/>
              </a:ext>
            </a:extLst>
          </p:cNvPr>
          <p:cNvSpPr/>
          <p:nvPr/>
        </p:nvSpPr>
        <p:spPr>
          <a:xfrm>
            <a:off x="7529272" y="4558798"/>
            <a:ext cx="258368" cy="4572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E823BDA5-BE2F-4AD7-833B-4349DAFE80AC}"/>
              </a:ext>
            </a:extLst>
          </p:cNvPr>
          <p:cNvSpPr/>
          <p:nvPr/>
        </p:nvSpPr>
        <p:spPr>
          <a:xfrm>
            <a:off x="7012537" y="4558798"/>
            <a:ext cx="258368" cy="457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A9A67D16-BE65-4F7B-8EB8-3CD7A901D636}"/>
              </a:ext>
            </a:extLst>
          </p:cNvPr>
          <p:cNvSpPr/>
          <p:nvPr/>
        </p:nvSpPr>
        <p:spPr>
          <a:xfrm>
            <a:off x="7270905" y="4558798"/>
            <a:ext cx="258368" cy="4572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5" name="Picture Placeholder 4">
            <a:extLst>
              <a:ext uri="{FF2B5EF4-FFF2-40B4-BE49-F238E27FC236}">
                <a16:creationId xmlns:a16="http://schemas.microsoft.com/office/drawing/2014/main" id="{BCE11941-DD95-48DD-BCD6-C3A61D312855}"/>
              </a:ext>
            </a:extLst>
          </p:cNvPr>
          <p:cNvSpPr>
            <a:spLocks noGrp="1"/>
          </p:cNvSpPr>
          <p:nvPr userDrawn="1">
            <p:ph type="pic" sz="quarter" idx="16"/>
          </p:nvPr>
        </p:nvSpPr>
        <p:spPr>
          <a:xfrm>
            <a:off x="4549387" y="1980170"/>
            <a:ext cx="3093228" cy="2463454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/>
            </a:lvl1pPr>
          </a:lstStyle>
          <a:p>
            <a:endParaRPr lang="en-IN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BE4B986E-900D-47CC-8CBF-CC5A56176E4D}"/>
              </a:ext>
            </a:extLst>
          </p:cNvPr>
          <p:cNvSpPr/>
          <p:nvPr userDrawn="1"/>
        </p:nvSpPr>
        <p:spPr>
          <a:xfrm>
            <a:off x="7970522" y="1819276"/>
            <a:ext cx="3383279" cy="2785242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4069BE6B-479F-4B3F-9793-288ED56161C4}"/>
              </a:ext>
            </a:extLst>
          </p:cNvPr>
          <p:cNvSpPr/>
          <p:nvPr/>
        </p:nvSpPr>
        <p:spPr>
          <a:xfrm>
            <a:off x="8487255" y="1819276"/>
            <a:ext cx="258368" cy="4572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615615D6-FDAB-4FC5-ACC4-B39FF9562BA5}"/>
              </a:ext>
            </a:extLst>
          </p:cNvPr>
          <p:cNvSpPr/>
          <p:nvPr/>
        </p:nvSpPr>
        <p:spPr>
          <a:xfrm>
            <a:off x="7970520" y="1819276"/>
            <a:ext cx="258368" cy="457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89953E9-77A7-4CF8-9F30-7D88723FD331}"/>
              </a:ext>
            </a:extLst>
          </p:cNvPr>
          <p:cNvSpPr/>
          <p:nvPr/>
        </p:nvSpPr>
        <p:spPr>
          <a:xfrm>
            <a:off x="8228888" y="1819276"/>
            <a:ext cx="258368" cy="4572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67C41D71-71D6-438D-BAB6-1051201E59A4}"/>
              </a:ext>
            </a:extLst>
          </p:cNvPr>
          <p:cNvSpPr/>
          <p:nvPr/>
        </p:nvSpPr>
        <p:spPr>
          <a:xfrm>
            <a:off x="11095432" y="4558798"/>
            <a:ext cx="258368" cy="4572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4C0483FF-788B-4ED7-A6B4-5CFBBA51029D}"/>
              </a:ext>
            </a:extLst>
          </p:cNvPr>
          <p:cNvSpPr/>
          <p:nvPr/>
        </p:nvSpPr>
        <p:spPr>
          <a:xfrm>
            <a:off x="10578697" y="4558798"/>
            <a:ext cx="258368" cy="45720"/>
          </a:xfrm>
          <a:prstGeom prst="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5C1D73D8-F7E3-4999-9487-2DBD5EE48759}"/>
              </a:ext>
            </a:extLst>
          </p:cNvPr>
          <p:cNvSpPr/>
          <p:nvPr/>
        </p:nvSpPr>
        <p:spPr>
          <a:xfrm>
            <a:off x="10837065" y="4558798"/>
            <a:ext cx="258368" cy="4572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6" name="Picture Placeholder 4">
            <a:extLst>
              <a:ext uri="{FF2B5EF4-FFF2-40B4-BE49-F238E27FC236}">
                <a16:creationId xmlns:a16="http://schemas.microsoft.com/office/drawing/2014/main" id="{4F4CE3B0-1060-4BFF-AD25-C8A4D9A5E46C}"/>
              </a:ext>
            </a:extLst>
          </p:cNvPr>
          <p:cNvSpPr>
            <a:spLocks noGrp="1"/>
          </p:cNvSpPr>
          <p:nvPr userDrawn="1">
            <p:ph type="pic" sz="quarter" idx="17"/>
          </p:nvPr>
        </p:nvSpPr>
        <p:spPr>
          <a:xfrm>
            <a:off x="8115547" y="1980170"/>
            <a:ext cx="3093228" cy="2463454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/>
            </a:lvl1pPr>
          </a:lstStyle>
          <a:p>
            <a:endParaRPr lang="en-IN"/>
          </a:p>
        </p:txBody>
      </p:sp>
      <p:sp>
        <p:nvSpPr>
          <p:cNvPr id="58" name="Text Placeholder 20">
            <a:extLst>
              <a:ext uri="{FF2B5EF4-FFF2-40B4-BE49-F238E27FC236}">
                <a16:creationId xmlns:a16="http://schemas.microsoft.com/office/drawing/2014/main" id="{371BE5B1-0318-43CC-BB05-E1842A8B42E8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4404360" y="5192063"/>
            <a:ext cx="3383280" cy="39652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Add text here</a:t>
            </a:r>
          </a:p>
        </p:txBody>
      </p:sp>
      <p:sp>
        <p:nvSpPr>
          <p:cNvPr id="59" name="Text Placeholder 20">
            <a:extLst>
              <a:ext uri="{FF2B5EF4-FFF2-40B4-BE49-F238E27FC236}">
                <a16:creationId xmlns:a16="http://schemas.microsoft.com/office/drawing/2014/main" id="{4981B6D6-8BA6-4210-966A-3A802728DC53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7970520" y="5192063"/>
            <a:ext cx="3383280" cy="39652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Add text here</a:t>
            </a:r>
          </a:p>
        </p:txBody>
      </p:sp>
    </p:spTree>
    <p:extLst>
      <p:ext uri="{BB962C8B-B14F-4D97-AF65-F5344CB8AC3E}">
        <p14:creationId xmlns:p14="http://schemas.microsoft.com/office/powerpoint/2010/main" val="402782772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Steps (2 steps conte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F6F9DE4B-E0A5-4A88-B4BB-186887FBD3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F6F9DE4B-E0A5-4A88-B4BB-186887FBD3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F30FD5BB-76A2-4ED6-905A-7113A01B836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32" name="Picture 31" descr="A group of people sitting at a table with a computer&#10;&#10;Description automatically generated">
            <a:extLst>
              <a:ext uri="{FF2B5EF4-FFF2-40B4-BE49-F238E27FC236}">
                <a16:creationId xmlns:a16="http://schemas.microsoft.com/office/drawing/2014/main" id="{74CC273F-BF3B-4F87-AE25-118CB2E816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"/>
            <a:ext cx="12192000" cy="3176325"/>
          </a:xfrm>
          <a:custGeom>
            <a:avLst/>
            <a:gdLst>
              <a:gd name="connsiteX0" fmla="*/ 0 w 12192000"/>
              <a:gd name="connsiteY0" fmla="*/ 0 h 3312850"/>
              <a:gd name="connsiteX1" fmla="*/ 12192000 w 12192000"/>
              <a:gd name="connsiteY1" fmla="*/ 0 h 3312850"/>
              <a:gd name="connsiteX2" fmla="*/ 12192000 w 12192000"/>
              <a:gd name="connsiteY2" fmla="*/ 3312850 h 3312850"/>
              <a:gd name="connsiteX3" fmla="*/ 0 w 12192000"/>
              <a:gd name="connsiteY3" fmla="*/ 3312850 h 3312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312850">
                <a:moveTo>
                  <a:pt x="0" y="0"/>
                </a:moveTo>
                <a:lnTo>
                  <a:pt x="12192000" y="0"/>
                </a:lnTo>
                <a:lnTo>
                  <a:pt x="12192000" y="3312850"/>
                </a:lnTo>
                <a:lnTo>
                  <a:pt x="0" y="3312850"/>
                </a:lnTo>
                <a:close/>
              </a:path>
            </a:pathLst>
          </a:cu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FED72D30-5830-4FFE-8AA1-0FA5F9988A91}"/>
              </a:ext>
            </a:extLst>
          </p:cNvPr>
          <p:cNvSpPr/>
          <p:nvPr userDrawn="1"/>
        </p:nvSpPr>
        <p:spPr>
          <a:xfrm>
            <a:off x="-277" y="0"/>
            <a:ext cx="12192277" cy="3178176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DFC0F1-C348-4E2B-B63E-F9FE4A4B7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3352CB7-DE56-4EC6-A0ED-184105DFB3EB}"/>
              </a:ext>
            </a:extLst>
          </p:cNvPr>
          <p:cNvGrpSpPr/>
          <p:nvPr/>
        </p:nvGrpSpPr>
        <p:grpSpPr>
          <a:xfrm>
            <a:off x="520701" y="1174249"/>
            <a:ext cx="1567180" cy="63148"/>
            <a:chOff x="85490" y="5421819"/>
            <a:chExt cx="9411633" cy="295508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AB90360-438B-4D83-86D9-3F4A4E7E293B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E1F44C3-78D9-4E71-B590-7906C22049CA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C1F01DE-99A0-4127-B3AE-F674CD3F8BC8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sp>
        <p:nvSpPr>
          <p:cNvPr id="14" name="Rectangle 15">
            <a:extLst>
              <a:ext uri="{FF2B5EF4-FFF2-40B4-BE49-F238E27FC236}">
                <a16:creationId xmlns:a16="http://schemas.microsoft.com/office/drawing/2014/main" id="{69C2AC58-766A-4775-94A1-72FA10741A6F}"/>
              </a:ext>
            </a:extLst>
          </p:cNvPr>
          <p:cNvSpPr/>
          <p:nvPr/>
        </p:nvSpPr>
        <p:spPr>
          <a:xfrm>
            <a:off x="520700" y="3321694"/>
            <a:ext cx="218109" cy="2872733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  <a:gd name="connsiteX4" fmla="*/ 0 w 914400"/>
              <a:gd name="connsiteY4" fmla="*/ 0 h 914400"/>
              <a:gd name="connsiteX0" fmla="*/ 914400 w 1005840"/>
              <a:gd name="connsiteY0" fmla="*/ 914400 h 1005840"/>
              <a:gd name="connsiteX1" fmla="*/ 0 w 1005840"/>
              <a:gd name="connsiteY1" fmla="*/ 914400 h 1005840"/>
              <a:gd name="connsiteX2" fmla="*/ 0 w 1005840"/>
              <a:gd name="connsiteY2" fmla="*/ 0 h 1005840"/>
              <a:gd name="connsiteX3" fmla="*/ 914400 w 1005840"/>
              <a:gd name="connsiteY3" fmla="*/ 0 h 1005840"/>
              <a:gd name="connsiteX4" fmla="*/ 1005840 w 1005840"/>
              <a:gd name="connsiteY4" fmla="*/ 1005840 h 1005840"/>
              <a:gd name="connsiteX0" fmla="*/ 914400 w 998220"/>
              <a:gd name="connsiteY0" fmla="*/ 914400 h 1017270"/>
              <a:gd name="connsiteX1" fmla="*/ 0 w 998220"/>
              <a:gd name="connsiteY1" fmla="*/ 914400 h 1017270"/>
              <a:gd name="connsiteX2" fmla="*/ 0 w 998220"/>
              <a:gd name="connsiteY2" fmla="*/ 0 h 1017270"/>
              <a:gd name="connsiteX3" fmla="*/ 914400 w 998220"/>
              <a:gd name="connsiteY3" fmla="*/ 0 h 1017270"/>
              <a:gd name="connsiteX4" fmla="*/ 998220 w 998220"/>
              <a:gd name="connsiteY4" fmla="*/ 1017270 h 1017270"/>
              <a:gd name="connsiteX0" fmla="*/ 914400 w 914400"/>
              <a:gd name="connsiteY0" fmla="*/ 914400 h 914400"/>
              <a:gd name="connsiteX1" fmla="*/ 0 w 914400"/>
              <a:gd name="connsiteY1" fmla="*/ 914400 h 914400"/>
              <a:gd name="connsiteX2" fmla="*/ 0 w 914400"/>
              <a:gd name="connsiteY2" fmla="*/ 0 h 914400"/>
              <a:gd name="connsiteX3" fmla="*/ 914400 w 914400"/>
              <a:gd name="connsiteY3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914400" y="914400"/>
                </a:moveTo>
                <a:lnTo>
                  <a:pt x="0" y="914400"/>
                </a:lnTo>
                <a:lnTo>
                  <a:pt x="0" y="0"/>
                </a:lnTo>
                <a:lnTo>
                  <a:pt x="914400" y="0"/>
                </a:lnTo>
              </a:path>
            </a:pathLst>
          </a:cu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 sz="180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D2653FC-3616-473D-8CDE-E277AC3C4158}"/>
              </a:ext>
            </a:extLst>
          </p:cNvPr>
          <p:cNvCxnSpPr>
            <a:cxnSpLocks/>
            <a:stCxn id="14" idx="0"/>
          </p:cNvCxnSpPr>
          <p:nvPr/>
        </p:nvCxnSpPr>
        <p:spPr>
          <a:xfrm>
            <a:off x="738808" y="6194425"/>
            <a:ext cx="5033343" cy="0"/>
          </a:xfrm>
          <a:prstGeom prst="line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9" name="Rectangle 15">
            <a:extLst>
              <a:ext uri="{FF2B5EF4-FFF2-40B4-BE49-F238E27FC236}">
                <a16:creationId xmlns:a16="http://schemas.microsoft.com/office/drawing/2014/main" id="{A913DB87-AE04-4B9F-975F-C321CD0D7C39}"/>
              </a:ext>
            </a:extLst>
          </p:cNvPr>
          <p:cNvSpPr/>
          <p:nvPr/>
        </p:nvSpPr>
        <p:spPr>
          <a:xfrm>
            <a:off x="6426200" y="3321694"/>
            <a:ext cx="218109" cy="2872733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  <a:gd name="connsiteX4" fmla="*/ 0 w 914400"/>
              <a:gd name="connsiteY4" fmla="*/ 0 h 914400"/>
              <a:gd name="connsiteX0" fmla="*/ 914400 w 1005840"/>
              <a:gd name="connsiteY0" fmla="*/ 914400 h 1005840"/>
              <a:gd name="connsiteX1" fmla="*/ 0 w 1005840"/>
              <a:gd name="connsiteY1" fmla="*/ 914400 h 1005840"/>
              <a:gd name="connsiteX2" fmla="*/ 0 w 1005840"/>
              <a:gd name="connsiteY2" fmla="*/ 0 h 1005840"/>
              <a:gd name="connsiteX3" fmla="*/ 914400 w 1005840"/>
              <a:gd name="connsiteY3" fmla="*/ 0 h 1005840"/>
              <a:gd name="connsiteX4" fmla="*/ 1005840 w 1005840"/>
              <a:gd name="connsiteY4" fmla="*/ 1005840 h 1005840"/>
              <a:gd name="connsiteX0" fmla="*/ 914400 w 998220"/>
              <a:gd name="connsiteY0" fmla="*/ 914400 h 1017270"/>
              <a:gd name="connsiteX1" fmla="*/ 0 w 998220"/>
              <a:gd name="connsiteY1" fmla="*/ 914400 h 1017270"/>
              <a:gd name="connsiteX2" fmla="*/ 0 w 998220"/>
              <a:gd name="connsiteY2" fmla="*/ 0 h 1017270"/>
              <a:gd name="connsiteX3" fmla="*/ 914400 w 998220"/>
              <a:gd name="connsiteY3" fmla="*/ 0 h 1017270"/>
              <a:gd name="connsiteX4" fmla="*/ 998220 w 998220"/>
              <a:gd name="connsiteY4" fmla="*/ 1017270 h 1017270"/>
              <a:gd name="connsiteX0" fmla="*/ 914400 w 914400"/>
              <a:gd name="connsiteY0" fmla="*/ 914400 h 914400"/>
              <a:gd name="connsiteX1" fmla="*/ 0 w 914400"/>
              <a:gd name="connsiteY1" fmla="*/ 914400 h 914400"/>
              <a:gd name="connsiteX2" fmla="*/ 0 w 914400"/>
              <a:gd name="connsiteY2" fmla="*/ 0 h 914400"/>
              <a:gd name="connsiteX3" fmla="*/ 914400 w 914400"/>
              <a:gd name="connsiteY3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914400" y="914400"/>
                </a:moveTo>
                <a:lnTo>
                  <a:pt x="0" y="914400"/>
                </a:lnTo>
                <a:lnTo>
                  <a:pt x="0" y="0"/>
                </a:lnTo>
                <a:lnTo>
                  <a:pt x="914400" y="0"/>
                </a:lnTo>
              </a:path>
            </a:pathLst>
          </a:cu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 sz="180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5CD9218-B26E-4507-8E53-2F5651981141}"/>
              </a:ext>
            </a:extLst>
          </p:cNvPr>
          <p:cNvCxnSpPr>
            <a:cxnSpLocks/>
            <a:stCxn id="19" idx="0"/>
          </p:cNvCxnSpPr>
          <p:nvPr/>
        </p:nvCxnSpPr>
        <p:spPr>
          <a:xfrm>
            <a:off x="6644309" y="6194425"/>
            <a:ext cx="5033343" cy="0"/>
          </a:xfrm>
          <a:prstGeom prst="line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4" name="Title 1">
            <a:extLst>
              <a:ext uri="{FF2B5EF4-FFF2-40B4-BE49-F238E27FC236}">
                <a16:creationId xmlns:a16="http://schemas.microsoft.com/office/drawing/2014/main" id="{FE9E3F7E-701C-4A0B-A75D-59447A50719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20700" y="1174250"/>
            <a:ext cx="11150600" cy="1327652"/>
          </a:xfrm>
        </p:spPr>
        <p:txBody>
          <a:bodyPr>
            <a:normAutofit/>
          </a:bodyPr>
          <a:lstStyle>
            <a:lvl1pPr marL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kern="120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dirty="0"/>
              <a:t>T</a:t>
            </a:r>
            <a:r>
              <a:rPr lang="en-US" dirty="0"/>
              <a:t>ITLE GOES HER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D413FA36-7856-402C-B8C6-D549D5530D8C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20701" y="3408292"/>
            <a:ext cx="2012951" cy="328557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800" b="1" dirty="0" smtClean="0">
                <a:solidFill>
                  <a:schemeClr val="bg1"/>
                </a:solidFill>
              </a:defRPr>
            </a:lvl1pPr>
            <a:lvl2pPr>
              <a:defRPr lang="en-US" sz="1800" dirty="0" smtClean="0">
                <a:solidFill>
                  <a:schemeClr val="lt1"/>
                </a:solidFill>
              </a:defRPr>
            </a:lvl2pPr>
            <a:lvl3pPr>
              <a:defRPr lang="en-US" sz="1800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>
              <a:defRPr lang="en-US" dirty="0">
                <a:solidFill>
                  <a:schemeClr val="lt1"/>
                </a:solidFill>
              </a:defRPr>
            </a:lvl5pPr>
          </a:lstStyle>
          <a:p>
            <a:pPr marL="0" lvl="0"/>
            <a:r>
              <a:rPr lang="en-IN" dirty="0"/>
              <a:t>HEADING</a:t>
            </a:r>
            <a:endParaRPr lang="en-US" dirty="0"/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1916AF90-0253-4E2C-90F6-F53036CEDF0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26199" y="3408292"/>
            <a:ext cx="2012951" cy="328557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800" b="1" dirty="0" smtClean="0">
                <a:solidFill>
                  <a:schemeClr val="bg1"/>
                </a:solidFill>
              </a:defRPr>
            </a:lvl1pPr>
            <a:lvl2pPr>
              <a:defRPr lang="en-US" sz="1800" dirty="0" smtClean="0">
                <a:solidFill>
                  <a:schemeClr val="lt1"/>
                </a:solidFill>
              </a:defRPr>
            </a:lvl2pPr>
            <a:lvl3pPr>
              <a:defRPr lang="en-US" sz="1800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>
              <a:defRPr lang="en-US" dirty="0">
                <a:solidFill>
                  <a:schemeClr val="lt1"/>
                </a:solidFill>
              </a:defRPr>
            </a:lvl5pPr>
          </a:lstStyle>
          <a:p>
            <a:pPr marL="0" lvl="0"/>
            <a:r>
              <a:rPr lang="en-IN" dirty="0"/>
              <a:t>HEADING</a:t>
            </a:r>
            <a:endParaRPr lang="en-US" dirty="0"/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5FBBBD15-2A35-4EC2-A7B6-2ADD2D4DB23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20701" y="3770315"/>
            <a:ext cx="5251449" cy="2422525"/>
          </a:xfrm>
        </p:spPr>
        <p:txBody>
          <a:bodyPr lIns="91440" tIns="45720" rIns="91440" bIns="45720">
            <a:noAutofit/>
          </a:bodyPr>
          <a:lstStyle>
            <a:lvl1pPr marL="173034" indent="-173034" algn="l" defTabSz="914377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en-US" sz="1600" kern="1200" spc="-4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35" indent="-342891"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5328" indent="-342891"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15985" indent="-285744"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594" indent="-228594">
              <a:defRPr/>
            </a:lvl5pPr>
          </a:lstStyle>
          <a:p>
            <a:pPr marL="173034" lvl="0" indent="-173034" algn="l" defTabSz="914377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dirty="0"/>
              <a:t>Click to edit Master text styles</a:t>
            </a:r>
          </a:p>
          <a:p>
            <a:pPr marL="457189" lvl="1" indent="-171446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–"/>
            </a:pPr>
            <a:r>
              <a:rPr lang="en-US" dirty="0"/>
              <a:t>Second level</a:t>
            </a:r>
          </a:p>
          <a:p>
            <a:pPr marL="742932" lvl="2" indent="-190495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</a:pPr>
            <a:r>
              <a:rPr lang="en-US" dirty="0"/>
              <a:t>Third level</a:t>
            </a:r>
          </a:p>
          <a:p>
            <a:pPr marL="830242" lvl="3" indent="1984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–"/>
            </a:pPr>
            <a:r>
              <a:rPr lang="en-US" dirty="0"/>
              <a:t>Fourth level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51EE82A3-EDF4-4AF9-AD58-4AFF40F3115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26201" y="3770315"/>
            <a:ext cx="5251449" cy="2422525"/>
          </a:xfrm>
        </p:spPr>
        <p:txBody>
          <a:bodyPr lIns="91440" tIns="45720" rIns="91440" bIns="45720">
            <a:noAutofit/>
          </a:bodyPr>
          <a:lstStyle>
            <a:lvl1pPr marL="173034" indent="-173034" algn="l" defTabSz="914377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en-US" sz="1600" kern="1200" spc="-4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35" indent="-342891"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5328" indent="-342891"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15985" indent="-285744"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594" indent="-228594">
              <a:defRPr/>
            </a:lvl5pPr>
          </a:lstStyle>
          <a:p>
            <a:pPr marL="173034" lvl="0" indent="-173034" algn="l" defTabSz="914377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dirty="0"/>
              <a:t>Click to edit Master text styles</a:t>
            </a:r>
          </a:p>
          <a:p>
            <a:pPr marL="457189" lvl="1" indent="-171446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–"/>
            </a:pPr>
            <a:r>
              <a:rPr lang="en-US" dirty="0"/>
              <a:t>Second level</a:t>
            </a:r>
          </a:p>
          <a:p>
            <a:pPr marL="742932" lvl="2" indent="-190495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</a:pPr>
            <a:r>
              <a:rPr lang="en-US" dirty="0"/>
              <a:t>Third level</a:t>
            </a:r>
          </a:p>
          <a:p>
            <a:pPr marL="830242" lvl="3" indent="1984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–"/>
            </a:pPr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83412696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BF14663-28BA-4A94-8C24-98DC7F5C9E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297" b="52941"/>
          <a:stretch/>
        </p:blipFill>
        <p:spPr>
          <a:xfrm>
            <a:off x="0" y="1"/>
            <a:ext cx="12192000" cy="3055716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FFBB268F-F593-43D6-8FCB-061D5F5D9BE2}"/>
              </a:ext>
            </a:extLst>
          </p:cNvPr>
          <p:cNvSpPr/>
          <p:nvPr userDrawn="1"/>
        </p:nvSpPr>
        <p:spPr>
          <a:xfrm>
            <a:off x="3375662" y="1889762"/>
            <a:ext cx="8816340" cy="1165131"/>
          </a:xfrm>
          <a:prstGeom prst="rect">
            <a:avLst/>
          </a:prstGeom>
          <a:solidFill>
            <a:schemeClr val="accent4">
              <a:alpha val="7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09CB39F-4413-499B-853C-B6F760705FDB}"/>
              </a:ext>
            </a:extLst>
          </p:cNvPr>
          <p:cNvSpPr/>
          <p:nvPr userDrawn="1"/>
        </p:nvSpPr>
        <p:spPr>
          <a:xfrm>
            <a:off x="0" y="3055719"/>
            <a:ext cx="12192000" cy="1428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16A1EC5-1F87-4977-83FC-5D7A3A9298F5}"/>
              </a:ext>
            </a:extLst>
          </p:cNvPr>
          <p:cNvGrpSpPr/>
          <p:nvPr userDrawn="1"/>
        </p:nvGrpSpPr>
        <p:grpSpPr>
          <a:xfrm rot="2582261">
            <a:off x="709203" y="1422075"/>
            <a:ext cx="3130124" cy="3130124"/>
            <a:chOff x="5930258" y="4468562"/>
            <a:chExt cx="763252" cy="763252"/>
          </a:xfrm>
        </p:grpSpPr>
        <p:sp>
          <p:nvSpPr>
            <p:cNvPr id="18" name="Partial Circle 17">
              <a:extLst>
                <a:ext uri="{FF2B5EF4-FFF2-40B4-BE49-F238E27FC236}">
                  <a16:creationId xmlns:a16="http://schemas.microsoft.com/office/drawing/2014/main" id="{BB9E8EC1-0364-4CE8-844C-FEA381EFAD7B}"/>
                </a:ext>
              </a:extLst>
            </p:cNvPr>
            <p:cNvSpPr/>
            <p:nvPr userDrawn="1"/>
          </p:nvSpPr>
          <p:spPr>
            <a:xfrm rot="2790835">
              <a:off x="5930258" y="4468562"/>
              <a:ext cx="763252" cy="763252"/>
            </a:xfrm>
            <a:prstGeom prst="pie">
              <a:avLst>
                <a:gd name="adj1" fmla="val 16334731"/>
                <a:gd name="adj2" fmla="val 19152861"/>
              </a:avLst>
            </a:prstGeom>
            <a:solidFill>
              <a:schemeClr val="accent1"/>
            </a:solidFill>
            <a:ln>
              <a:noFill/>
            </a:ln>
            <a:effectLst>
              <a:outerShdw blurRad="25400" dist="12700" dir="2700000" algn="tl" rotWithShape="0">
                <a:schemeClr val="tx1">
                  <a:lumMod val="60000"/>
                  <a:lumOff val="40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IN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9" name="Partial Circle 18">
              <a:extLst>
                <a:ext uri="{FF2B5EF4-FFF2-40B4-BE49-F238E27FC236}">
                  <a16:creationId xmlns:a16="http://schemas.microsoft.com/office/drawing/2014/main" id="{6C93EEAC-D359-454D-9784-DD8FA55101BC}"/>
                </a:ext>
              </a:extLst>
            </p:cNvPr>
            <p:cNvSpPr/>
            <p:nvPr userDrawn="1"/>
          </p:nvSpPr>
          <p:spPr>
            <a:xfrm rot="5588732">
              <a:off x="5930258" y="4468562"/>
              <a:ext cx="763252" cy="763252"/>
            </a:xfrm>
            <a:prstGeom prst="pie">
              <a:avLst>
                <a:gd name="adj1" fmla="val 16334731"/>
                <a:gd name="adj2" fmla="val 19152861"/>
              </a:avLst>
            </a:prstGeom>
            <a:solidFill>
              <a:schemeClr val="accent2"/>
            </a:solidFill>
            <a:ln>
              <a:noFill/>
            </a:ln>
            <a:effectLst>
              <a:outerShdw blurRad="25400" dist="12700" dir="2700000" algn="tl" rotWithShape="0">
                <a:schemeClr val="tx1">
                  <a:lumMod val="60000"/>
                  <a:lumOff val="40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IN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Partial Circle 19">
              <a:extLst>
                <a:ext uri="{FF2B5EF4-FFF2-40B4-BE49-F238E27FC236}">
                  <a16:creationId xmlns:a16="http://schemas.microsoft.com/office/drawing/2014/main" id="{DA38E0C2-00A4-4A79-9ACC-0389DE2F840F}"/>
                </a:ext>
              </a:extLst>
            </p:cNvPr>
            <p:cNvSpPr/>
            <p:nvPr userDrawn="1"/>
          </p:nvSpPr>
          <p:spPr>
            <a:xfrm>
              <a:off x="5930258" y="4468562"/>
              <a:ext cx="763252" cy="763252"/>
            </a:xfrm>
            <a:prstGeom prst="pie">
              <a:avLst>
                <a:gd name="adj1" fmla="val 16334731"/>
                <a:gd name="adj2" fmla="val 19152861"/>
              </a:avLst>
            </a:prstGeom>
            <a:solidFill>
              <a:schemeClr val="tx2"/>
            </a:solidFill>
            <a:ln>
              <a:noFill/>
            </a:ln>
            <a:effectLst>
              <a:outerShdw blurRad="25400" dist="12700" dir="2700000" algn="tl" rotWithShape="0">
                <a:schemeClr val="tx1">
                  <a:lumMod val="60000"/>
                  <a:lumOff val="40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IN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0" name="Oval 9">
            <a:extLst>
              <a:ext uri="{FF2B5EF4-FFF2-40B4-BE49-F238E27FC236}">
                <a16:creationId xmlns:a16="http://schemas.microsoft.com/office/drawing/2014/main" id="{6E47A0A1-4DB8-459D-971D-77E0C9DE2E31}"/>
              </a:ext>
            </a:extLst>
          </p:cNvPr>
          <p:cNvSpPr/>
          <p:nvPr userDrawn="1"/>
        </p:nvSpPr>
        <p:spPr>
          <a:xfrm>
            <a:off x="839873" y="1552745"/>
            <a:ext cx="2868784" cy="2868784"/>
          </a:xfrm>
          <a:prstGeom prst="ellipse">
            <a:avLst/>
          </a:prstGeom>
          <a:solidFill>
            <a:schemeClr val="bg1"/>
          </a:solidFill>
          <a:ln w="19050">
            <a:noFill/>
          </a:ln>
          <a:effectLst>
            <a:outerShdw blurRad="38100" dist="25400" dir="2700000" algn="tl" rotWithShape="0">
              <a:prstClr val="black">
                <a:alpha val="1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1A27887-2B3C-40D5-8244-647B8916308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92699" y="1806992"/>
            <a:ext cx="2363132" cy="2360290"/>
          </a:xfrm>
          <a:prstGeom prst="ellipse">
            <a:avLst/>
          </a:prstGeom>
          <a:ln>
            <a:solidFill>
              <a:schemeClr val="bg1">
                <a:lumMod val="95000"/>
              </a:schemeClr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IN" dirty="0"/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8BF7256A-5DDE-4A5B-A4BB-C39959BF2F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154" y="2272058"/>
            <a:ext cx="6948796" cy="396523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  <a:latin typeface="+mj-lt"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Ready to  Help You Get Started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23E09F4-52A1-42AD-BB1E-E3D4709719E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47153" y="3367912"/>
            <a:ext cx="5501961" cy="396523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Insert Name here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8288BEF0-1E5D-4FBF-A79E-D285ADA4733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153" y="3952442"/>
            <a:ext cx="5501961" cy="315032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Email ID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CA2E17E-D674-4A60-9FAC-83FF3FE432EF}"/>
              </a:ext>
            </a:extLst>
          </p:cNvPr>
          <p:cNvSpPr/>
          <p:nvPr userDrawn="1"/>
        </p:nvSpPr>
        <p:spPr>
          <a:xfrm>
            <a:off x="61406" y="5972537"/>
            <a:ext cx="1501177" cy="7296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953CB692-3E2A-4BAB-BE3C-2E33EF51621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060072" y="6065136"/>
            <a:ext cx="1831989" cy="573071"/>
          </a:xfrm>
          <a:prstGeom prst="rect">
            <a:avLst/>
          </a:prstGeom>
        </p:spPr>
      </p:pic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4A1AB7CC-9E53-4AD4-B82D-EB90390CB52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7153" y="4353561"/>
            <a:ext cx="5501961" cy="315032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Website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6735BA5B-F237-4C53-94FC-A649423BBFC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153" y="4754680"/>
            <a:ext cx="5501961" cy="315032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Phone number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9D56353-CE70-46EB-BBD1-A222BD5A997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046539" y="5289552"/>
            <a:ext cx="540979" cy="540979"/>
          </a:xfrm>
        </p:spPr>
        <p:txBody>
          <a:bodyPr>
            <a:normAutofit/>
          </a:bodyPr>
          <a:lstStyle>
            <a:lvl1pPr marL="0" indent="0">
              <a:buNone/>
              <a:defRPr sz="700"/>
            </a:lvl1pPr>
          </a:lstStyle>
          <a:p>
            <a:endParaRPr lang="en-IN" dirty="0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E23B5B62-EF3B-40D6-AF57-DB11248FC2D4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706296" y="5289552"/>
            <a:ext cx="540979" cy="540979"/>
          </a:xfrm>
        </p:spPr>
        <p:txBody>
          <a:bodyPr>
            <a:normAutofit/>
          </a:bodyPr>
          <a:lstStyle>
            <a:lvl1pPr marL="0" indent="0">
              <a:buNone/>
              <a:defRPr sz="700"/>
            </a:lvl1pPr>
          </a:lstStyle>
          <a:p>
            <a:endParaRPr lang="en-IN" dirty="0"/>
          </a:p>
        </p:txBody>
      </p:sp>
      <p:sp>
        <p:nvSpPr>
          <p:cNvPr id="34" name="Picture Placeholder 31">
            <a:extLst>
              <a:ext uri="{FF2B5EF4-FFF2-40B4-BE49-F238E27FC236}">
                <a16:creationId xmlns:a16="http://schemas.microsoft.com/office/drawing/2014/main" id="{CC68173D-D27E-4DD0-8115-5BB8A1308C78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366053" y="5289552"/>
            <a:ext cx="540979" cy="540979"/>
          </a:xfrm>
        </p:spPr>
        <p:txBody>
          <a:bodyPr>
            <a:normAutofit/>
          </a:bodyPr>
          <a:lstStyle>
            <a:lvl1pPr marL="0" indent="0">
              <a:buNone/>
              <a:defRPr sz="700"/>
            </a:lvl1pPr>
          </a:lstStyle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46507162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D362E68-054B-4E7C-9829-46DF540B9F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297" b="52941"/>
          <a:stretch/>
        </p:blipFill>
        <p:spPr>
          <a:xfrm>
            <a:off x="0" y="1"/>
            <a:ext cx="12192000" cy="3055716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CC9F26EB-2A9D-4C47-94DE-A73D111717BC}"/>
              </a:ext>
            </a:extLst>
          </p:cNvPr>
          <p:cNvSpPr/>
          <p:nvPr userDrawn="1"/>
        </p:nvSpPr>
        <p:spPr>
          <a:xfrm>
            <a:off x="0" y="3050051"/>
            <a:ext cx="12192000" cy="1485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807A4954-A821-4792-8D09-30DFAEFB6C44}"/>
              </a:ext>
            </a:extLst>
          </p:cNvPr>
          <p:cNvSpPr/>
          <p:nvPr userDrawn="1"/>
        </p:nvSpPr>
        <p:spPr>
          <a:xfrm>
            <a:off x="2359745" y="1959414"/>
            <a:ext cx="2346553" cy="3443103"/>
          </a:xfrm>
          <a:custGeom>
            <a:avLst/>
            <a:gdLst>
              <a:gd name="connsiteX0" fmla="*/ 0 w 2346553"/>
              <a:gd name="connsiteY0" fmla="*/ 0 h 3443103"/>
              <a:gd name="connsiteX1" fmla="*/ 1250003 w 2346553"/>
              <a:gd name="connsiteY1" fmla="*/ 0 h 3443103"/>
              <a:gd name="connsiteX2" fmla="*/ 2346553 w 2346553"/>
              <a:gd name="connsiteY2" fmla="*/ 1096550 h 3443103"/>
              <a:gd name="connsiteX3" fmla="*/ 0 w 2346553"/>
              <a:gd name="connsiteY3" fmla="*/ 3443103 h 3443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46553" h="3443103">
                <a:moveTo>
                  <a:pt x="0" y="0"/>
                </a:moveTo>
                <a:lnTo>
                  <a:pt x="1250003" y="0"/>
                </a:lnTo>
                <a:lnTo>
                  <a:pt x="2346553" y="1096550"/>
                </a:lnTo>
                <a:lnTo>
                  <a:pt x="0" y="3443103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</a:ln>
          <a:effectLst>
            <a:outerShdw blurRad="38100" dist="25400" dir="2700000" algn="tl" rotWithShape="0">
              <a:prstClr val="black">
                <a:alpha val="1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4E54AAA-576D-4B65-B313-DE6A99920D26}"/>
              </a:ext>
            </a:extLst>
          </p:cNvPr>
          <p:cNvSpPr/>
          <p:nvPr userDrawn="1"/>
        </p:nvSpPr>
        <p:spPr>
          <a:xfrm>
            <a:off x="3375662" y="1959414"/>
            <a:ext cx="8816340" cy="1096305"/>
          </a:xfrm>
          <a:prstGeom prst="rect">
            <a:avLst/>
          </a:prstGeom>
          <a:solidFill>
            <a:schemeClr val="tx2">
              <a:alpha val="7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882CDF48-CC9D-4237-9672-01A4481B93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2178" y="2015614"/>
            <a:ext cx="6611252" cy="909408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  <a:latin typeface="+mj-lt"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Ready to  Help You Get Started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AC5BC440-4265-498C-9A8D-A978B80646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52793" y="3367912"/>
            <a:ext cx="5501961" cy="396523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Insert Name her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113860BE-A6AD-436E-A025-F53971C714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52793" y="3952442"/>
            <a:ext cx="5501961" cy="315032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Email ID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243DC6E-37BE-43FE-B0C7-A1E0DE34164A}"/>
              </a:ext>
            </a:extLst>
          </p:cNvPr>
          <p:cNvSpPr/>
          <p:nvPr userDrawn="1"/>
        </p:nvSpPr>
        <p:spPr>
          <a:xfrm>
            <a:off x="61406" y="5972537"/>
            <a:ext cx="1501177" cy="7296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8A4F92F-3DC8-49B8-A529-63E48B6A104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060072" y="6065136"/>
            <a:ext cx="1831989" cy="573071"/>
          </a:xfrm>
          <a:prstGeom prst="rect">
            <a:avLst/>
          </a:prstGeom>
        </p:spPr>
      </p:pic>
      <p:sp>
        <p:nvSpPr>
          <p:cNvPr id="16" name="Text Placeholder 20">
            <a:extLst>
              <a:ext uri="{FF2B5EF4-FFF2-40B4-BE49-F238E27FC236}">
                <a16:creationId xmlns:a16="http://schemas.microsoft.com/office/drawing/2014/main" id="{C1CEEE59-1774-4021-97C3-51A8E0B68EF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52793" y="4353561"/>
            <a:ext cx="5501961" cy="315032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Website</a:t>
            </a:r>
          </a:p>
        </p:txBody>
      </p:sp>
      <p:sp>
        <p:nvSpPr>
          <p:cNvPr id="17" name="Text Placeholder 20">
            <a:extLst>
              <a:ext uri="{FF2B5EF4-FFF2-40B4-BE49-F238E27FC236}">
                <a16:creationId xmlns:a16="http://schemas.microsoft.com/office/drawing/2014/main" id="{E72770FF-F4BC-4D8C-8759-3D4F5F94936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52793" y="4754680"/>
            <a:ext cx="5501961" cy="315032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Phone number</a:t>
            </a:r>
          </a:p>
        </p:txBody>
      </p:sp>
      <p:sp>
        <p:nvSpPr>
          <p:cNvPr id="18" name="Picture Placeholder 31">
            <a:extLst>
              <a:ext uri="{FF2B5EF4-FFF2-40B4-BE49-F238E27FC236}">
                <a16:creationId xmlns:a16="http://schemas.microsoft.com/office/drawing/2014/main" id="{F2FFC8E1-245A-4435-AB78-126317140C2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952179" y="5289552"/>
            <a:ext cx="540979" cy="540979"/>
          </a:xfrm>
        </p:spPr>
        <p:txBody>
          <a:bodyPr>
            <a:normAutofit/>
          </a:bodyPr>
          <a:lstStyle>
            <a:lvl1pPr marL="0" indent="0">
              <a:buNone/>
              <a:defRPr sz="700"/>
            </a:lvl1pPr>
          </a:lstStyle>
          <a:p>
            <a:endParaRPr lang="en-IN" dirty="0"/>
          </a:p>
        </p:txBody>
      </p:sp>
      <p:sp>
        <p:nvSpPr>
          <p:cNvPr id="19" name="Picture Placeholder 31">
            <a:extLst>
              <a:ext uri="{FF2B5EF4-FFF2-40B4-BE49-F238E27FC236}">
                <a16:creationId xmlns:a16="http://schemas.microsoft.com/office/drawing/2014/main" id="{BE0AE3F3-D4DC-4CEE-8EA3-19E2CEC7C0EC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611936" y="5289552"/>
            <a:ext cx="540979" cy="540979"/>
          </a:xfrm>
        </p:spPr>
        <p:txBody>
          <a:bodyPr>
            <a:normAutofit/>
          </a:bodyPr>
          <a:lstStyle>
            <a:lvl1pPr marL="0" indent="0">
              <a:buNone/>
              <a:defRPr sz="700"/>
            </a:lvl1pPr>
          </a:lstStyle>
          <a:p>
            <a:endParaRPr lang="en-IN" dirty="0"/>
          </a:p>
        </p:txBody>
      </p:sp>
      <p:sp>
        <p:nvSpPr>
          <p:cNvPr id="20" name="Picture Placeholder 31">
            <a:extLst>
              <a:ext uri="{FF2B5EF4-FFF2-40B4-BE49-F238E27FC236}">
                <a16:creationId xmlns:a16="http://schemas.microsoft.com/office/drawing/2014/main" id="{00D99479-2259-4B22-AD4D-A56907F43C69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71693" y="5289552"/>
            <a:ext cx="540979" cy="540979"/>
          </a:xfrm>
        </p:spPr>
        <p:txBody>
          <a:bodyPr>
            <a:normAutofit/>
          </a:bodyPr>
          <a:lstStyle>
            <a:lvl1pPr marL="0" indent="0">
              <a:buNone/>
              <a:defRPr sz="700"/>
            </a:lvl1pPr>
          </a:lstStyle>
          <a:p>
            <a:endParaRPr lang="en-IN" dirty="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1F287CF0-EA97-4034-A980-3E3DC88F0749}"/>
              </a:ext>
            </a:extLst>
          </p:cNvPr>
          <p:cNvSpPr/>
          <p:nvPr userDrawn="1"/>
        </p:nvSpPr>
        <p:spPr>
          <a:xfrm>
            <a:off x="2359745" y="1959414"/>
            <a:ext cx="2346553" cy="1102393"/>
          </a:xfrm>
          <a:custGeom>
            <a:avLst/>
            <a:gdLst>
              <a:gd name="connsiteX0" fmla="*/ 0 w 2346553"/>
              <a:gd name="connsiteY0" fmla="*/ 0 h 1102393"/>
              <a:gd name="connsiteX1" fmla="*/ 1250003 w 2346553"/>
              <a:gd name="connsiteY1" fmla="*/ 0 h 1102393"/>
              <a:gd name="connsiteX2" fmla="*/ 2346553 w 2346553"/>
              <a:gd name="connsiteY2" fmla="*/ 1096550 h 1102393"/>
              <a:gd name="connsiteX3" fmla="*/ 2340710 w 2346553"/>
              <a:gd name="connsiteY3" fmla="*/ 1102393 h 1102393"/>
              <a:gd name="connsiteX4" fmla="*/ 0 w 2346553"/>
              <a:gd name="connsiteY4" fmla="*/ 1102393 h 11023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46553" h="1102393">
                <a:moveTo>
                  <a:pt x="0" y="0"/>
                </a:moveTo>
                <a:lnTo>
                  <a:pt x="1250003" y="0"/>
                </a:lnTo>
                <a:lnTo>
                  <a:pt x="2346553" y="1096550"/>
                </a:lnTo>
                <a:lnTo>
                  <a:pt x="2340710" y="1102393"/>
                </a:lnTo>
                <a:lnTo>
                  <a:pt x="0" y="1102393"/>
                </a:lnTo>
                <a:close/>
              </a:path>
            </a:pathLst>
          </a:custGeom>
          <a:solidFill>
            <a:srgbClr val="1B3E6F"/>
          </a:solidFill>
          <a:ln w="19050">
            <a:noFill/>
          </a:ln>
          <a:effectLst>
            <a:outerShdw blurRad="38100" dist="25400" dir="2700000" algn="tl" rotWithShape="0">
              <a:prstClr val="black">
                <a:alpha val="1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D0C0BFC4-64AD-468B-B3F6-350915189F86}"/>
              </a:ext>
            </a:extLst>
          </p:cNvPr>
          <p:cNvSpPr/>
          <p:nvPr userDrawn="1"/>
        </p:nvSpPr>
        <p:spPr>
          <a:xfrm>
            <a:off x="2359745" y="3051067"/>
            <a:ext cx="2346553" cy="1102393"/>
          </a:xfrm>
          <a:custGeom>
            <a:avLst/>
            <a:gdLst>
              <a:gd name="connsiteX0" fmla="*/ 0 w 2346553"/>
              <a:gd name="connsiteY0" fmla="*/ 0 h 1102393"/>
              <a:gd name="connsiteX1" fmla="*/ 2341656 w 2346553"/>
              <a:gd name="connsiteY1" fmla="*/ 0 h 1102393"/>
              <a:gd name="connsiteX2" fmla="*/ 2346553 w 2346553"/>
              <a:gd name="connsiteY2" fmla="*/ 4897 h 1102393"/>
              <a:gd name="connsiteX3" fmla="*/ 1249057 w 2346553"/>
              <a:gd name="connsiteY3" fmla="*/ 1102393 h 1102393"/>
              <a:gd name="connsiteX4" fmla="*/ 0 w 2346553"/>
              <a:gd name="connsiteY4" fmla="*/ 1102393 h 11023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46553" h="1102393">
                <a:moveTo>
                  <a:pt x="0" y="0"/>
                </a:moveTo>
                <a:lnTo>
                  <a:pt x="2341656" y="0"/>
                </a:lnTo>
                <a:lnTo>
                  <a:pt x="2346553" y="4897"/>
                </a:lnTo>
                <a:lnTo>
                  <a:pt x="1249057" y="1102393"/>
                </a:lnTo>
                <a:lnTo>
                  <a:pt x="0" y="1102393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</a:ln>
          <a:effectLst>
            <a:outerShdw blurRad="38100" dist="25400" dir="2700000" algn="tl" rotWithShape="0">
              <a:prstClr val="black">
                <a:alpha val="1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9" name="Diamond 8">
            <a:extLst>
              <a:ext uri="{FF2B5EF4-FFF2-40B4-BE49-F238E27FC236}">
                <a16:creationId xmlns:a16="http://schemas.microsoft.com/office/drawing/2014/main" id="{418211A9-3F06-4A4E-8A33-9D9379F6BF40}"/>
              </a:ext>
            </a:extLst>
          </p:cNvPr>
          <p:cNvSpPr/>
          <p:nvPr userDrawn="1"/>
        </p:nvSpPr>
        <p:spPr>
          <a:xfrm>
            <a:off x="258233" y="954871"/>
            <a:ext cx="4202180" cy="4202180"/>
          </a:xfrm>
          <a:prstGeom prst="diamond">
            <a:avLst/>
          </a:prstGeom>
          <a:solidFill>
            <a:schemeClr val="bg1"/>
          </a:solidFill>
          <a:ln w="19050">
            <a:noFill/>
          </a:ln>
          <a:effectLst>
            <a:outerShdw blurRad="38100" dist="25400" dir="2700000" algn="tl" rotWithShape="0">
              <a:prstClr val="black">
                <a:alpha val="1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10" name="Picture Placeholder 12">
            <a:extLst>
              <a:ext uri="{FF2B5EF4-FFF2-40B4-BE49-F238E27FC236}">
                <a16:creationId xmlns:a16="http://schemas.microsoft.com/office/drawing/2014/main" id="{0F5DD14C-2E66-44E6-945A-0586FCEAEC6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39935" y="1238761"/>
            <a:ext cx="3638776" cy="3634400"/>
          </a:xfrm>
          <a:prstGeom prst="diamond">
            <a:avLst/>
          </a:prstGeom>
          <a:ln>
            <a:solidFill>
              <a:schemeClr val="bg1">
                <a:lumMod val="95000"/>
              </a:schemeClr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4804767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E5ED6F4-038C-4AC7-8A35-1073C428C13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130CC13B-61A5-436F-9898-D42A1830B925}"/>
              </a:ext>
            </a:extLst>
          </p:cNvPr>
          <p:cNvSpPr/>
          <p:nvPr userDrawn="1"/>
        </p:nvSpPr>
        <p:spPr>
          <a:xfrm>
            <a:off x="2164466" y="0"/>
            <a:ext cx="10027535" cy="2812648"/>
          </a:xfrm>
          <a:prstGeom prst="rect">
            <a:avLst/>
          </a:prstGeom>
          <a:solidFill>
            <a:schemeClr val="tx2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40" name="Text Placeholder 20">
            <a:extLst>
              <a:ext uri="{FF2B5EF4-FFF2-40B4-BE49-F238E27FC236}">
                <a16:creationId xmlns:a16="http://schemas.microsoft.com/office/drawing/2014/main" id="{24F9A63D-4EDC-4E69-8642-954A344C7E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07721" y="2100430"/>
            <a:ext cx="6948796" cy="396523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 i="1">
                <a:solidFill>
                  <a:schemeClr val="bg1"/>
                </a:solidFill>
                <a:latin typeface="+mj-lt"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Ready to  Help You Get Started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F546FA8-0D8D-4FF8-B321-A55244CC47B6}"/>
              </a:ext>
            </a:extLst>
          </p:cNvPr>
          <p:cNvSpPr/>
          <p:nvPr userDrawn="1"/>
        </p:nvSpPr>
        <p:spPr>
          <a:xfrm>
            <a:off x="2155994" y="2768216"/>
            <a:ext cx="10027535" cy="4089784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01D8015-4367-468D-8FA1-82CB5FF02646}"/>
              </a:ext>
            </a:extLst>
          </p:cNvPr>
          <p:cNvGrpSpPr/>
          <p:nvPr userDrawn="1"/>
        </p:nvGrpSpPr>
        <p:grpSpPr>
          <a:xfrm>
            <a:off x="2004060" y="1"/>
            <a:ext cx="160416" cy="4045353"/>
            <a:chOff x="4595336" y="0"/>
            <a:chExt cx="54864" cy="3829838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1959ADA8-A00E-4907-A1B5-F79E303E2EBC}"/>
                </a:ext>
              </a:extLst>
            </p:cNvPr>
            <p:cNvSpPr/>
            <p:nvPr userDrawn="1"/>
          </p:nvSpPr>
          <p:spPr>
            <a:xfrm>
              <a:off x="4595336" y="1284492"/>
              <a:ext cx="54864" cy="132864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/>
              <a:endParaRPr lang="en-IN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C0FC23A7-0496-47BE-9E23-910537408A5B}"/>
                </a:ext>
              </a:extLst>
            </p:cNvPr>
            <p:cNvSpPr/>
            <p:nvPr userDrawn="1"/>
          </p:nvSpPr>
          <p:spPr>
            <a:xfrm>
              <a:off x="4595336" y="2613139"/>
              <a:ext cx="54864" cy="121669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/>
              <a:endParaRPr lang="en-IN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490717B3-1DD2-4FC4-8F37-AD424D15394B}"/>
                </a:ext>
              </a:extLst>
            </p:cNvPr>
            <p:cNvSpPr/>
            <p:nvPr userDrawn="1"/>
          </p:nvSpPr>
          <p:spPr>
            <a:xfrm>
              <a:off x="4595336" y="0"/>
              <a:ext cx="54864" cy="1328647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/>
              <a:endParaRPr lang="en-IN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42" name="Rectangle 41">
            <a:extLst>
              <a:ext uri="{FF2B5EF4-FFF2-40B4-BE49-F238E27FC236}">
                <a16:creationId xmlns:a16="http://schemas.microsoft.com/office/drawing/2014/main" id="{B9A8C0A7-6D56-4A36-9B5E-E51FABFBF6C7}"/>
              </a:ext>
            </a:extLst>
          </p:cNvPr>
          <p:cNvSpPr/>
          <p:nvPr userDrawn="1"/>
        </p:nvSpPr>
        <p:spPr>
          <a:xfrm>
            <a:off x="921592" y="4120266"/>
            <a:ext cx="2462621" cy="2462619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>
            <a:outerShdw blurRad="38100" dist="25400" dir="2700000" algn="tl" rotWithShape="0">
              <a:prstClr val="black">
                <a:alpha val="1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43" name="Picture Placeholder 12">
            <a:extLst>
              <a:ext uri="{FF2B5EF4-FFF2-40B4-BE49-F238E27FC236}">
                <a16:creationId xmlns:a16="http://schemas.microsoft.com/office/drawing/2014/main" id="{1F40DD0A-14E7-4EF8-8575-C3E18ABAC1C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38622" y="4338513"/>
            <a:ext cx="2028561" cy="2026120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IN" dirty="0"/>
          </a:p>
        </p:txBody>
      </p:sp>
      <p:sp>
        <p:nvSpPr>
          <p:cNvPr id="44" name="Text Placeholder 20">
            <a:extLst>
              <a:ext uri="{FF2B5EF4-FFF2-40B4-BE49-F238E27FC236}">
                <a16:creationId xmlns:a16="http://schemas.microsoft.com/office/drawing/2014/main" id="{503159C2-5A96-420F-AAC9-F337D33423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80936" y="4120267"/>
            <a:ext cx="5501961" cy="396523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cap="all" baseline="0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Insert Name here</a:t>
            </a:r>
          </a:p>
        </p:txBody>
      </p:sp>
      <p:sp>
        <p:nvSpPr>
          <p:cNvPr id="45" name="Text Placeholder 20">
            <a:extLst>
              <a:ext uri="{FF2B5EF4-FFF2-40B4-BE49-F238E27FC236}">
                <a16:creationId xmlns:a16="http://schemas.microsoft.com/office/drawing/2014/main" id="{1EC76653-5C39-4412-9E56-229D189B23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80936" y="4704797"/>
            <a:ext cx="5501961" cy="315032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Email ID</a:t>
            </a:r>
          </a:p>
        </p:txBody>
      </p:sp>
      <p:sp>
        <p:nvSpPr>
          <p:cNvPr id="46" name="Text Placeholder 20">
            <a:extLst>
              <a:ext uri="{FF2B5EF4-FFF2-40B4-BE49-F238E27FC236}">
                <a16:creationId xmlns:a16="http://schemas.microsoft.com/office/drawing/2014/main" id="{ADAB94D4-E3EF-4066-88A3-2EB38A8D0C5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80936" y="5105916"/>
            <a:ext cx="5501961" cy="315032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Website</a:t>
            </a:r>
          </a:p>
        </p:txBody>
      </p:sp>
      <p:sp>
        <p:nvSpPr>
          <p:cNvPr id="47" name="Text Placeholder 20">
            <a:extLst>
              <a:ext uri="{FF2B5EF4-FFF2-40B4-BE49-F238E27FC236}">
                <a16:creationId xmlns:a16="http://schemas.microsoft.com/office/drawing/2014/main" id="{8BA3726B-6B15-449D-BBC7-739E4B8C95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80936" y="5507035"/>
            <a:ext cx="5501961" cy="315032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Phone number</a:t>
            </a:r>
          </a:p>
        </p:txBody>
      </p:sp>
      <p:sp>
        <p:nvSpPr>
          <p:cNvPr id="48" name="Picture Placeholder 31">
            <a:extLst>
              <a:ext uri="{FF2B5EF4-FFF2-40B4-BE49-F238E27FC236}">
                <a16:creationId xmlns:a16="http://schemas.microsoft.com/office/drawing/2014/main" id="{1659C671-3025-49DB-A364-0E13C26035E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780321" y="5995607"/>
            <a:ext cx="540979" cy="540979"/>
          </a:xfrm>
        </p:spPr>
        <p:txBody>
          <a:bodyPr>
            <a:normAutofit/>
          </a:bodyPr>
          <a:lstStyle>
            <a:lvl1pPr marL="0" indent="0">
              <a:buNone/>
              <a:defRPr sz="700">
                <a:solidFill>
                  <a:schemeClr val="tx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49" name="Picture Placeholder 31">
            <a:extLst>
              <a:ext uri="{FF2B5EF4-FFF2-40B4-BE49-F238E27FC236}">
                <a16:creationId xmlns:a16="http://schemas.microsoft.com/office/drawing/2014/main" id="{4FB1F8D0-078D-48A3-B256-449116F946DC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440077" y="5995607"/>
            <a:ext cx="540979" cy="540979"/>
          </a:xfrm>
        </p:spPr>
        <p:txBody>
          <a:bodyPr>
            <a:normAutofit/>
          </a:bodyPr>
          <a:lstStyle>
            <a:lvl1pPr marL="0" indent="0">
              <a:buNone/>
              <a:defRPr sz="700">
                <a:solidFill>
                  <a:schemeClr val="tx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50" name="Picture Placeholder 31">
            <a:extLst>
              <a:ext uri="{FF2B5EF4-FFF2-40B4-BE49-F238E27FC236}">
                <a16:creationId xmlns:a16="http://schemas.microsoft.com/office/drawing/2014/main" id="{FFBFCFDE-285D-4F01-9966-B858FD702829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099835" y="5995607"/>
            <a:ext cx="540979" cy="540979"/>
          </a:xfrm>
        </p:spPr>
        <p:txBody>
          <a:bodyPr>
            <a:normAutofit/>
          </a:bodyPr>
          <a:lstStyle>
            <a:lvl1pPr marL="0" indent="0">
              <a:buNone/>
              <a:defRPr sz="700">
                <a:solidFill>
                  <a:schemeClr val="tx1"/>
                </a:solidFill>
              </a:defRPr>
            </a:lvl1pPr>
          </a:lstStyle>
          <a:p>
            <a:endParaRPr lang="en-IN" dirty="0"/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id="{394A43BF-D36E-4E52-A734-F421675D327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060072" y="6065136"/>
            <a:ext cx="1831989" cy="573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508105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osing Slid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E5ED6F4-038C-4AC7-8A35-1073C428C1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130CC13B-61A5-436F-9898-D42A1830B925}"/>
              </a:ext>
            </a:extLst>
          </p:cNvPr>
          <p:cNvSpPr/>
          <p:nvPr userDrawn="1"/>
        </p:nvSpPr>
        <p:spPr>
          <a:xfrm>
            <a:off x="2164466" y="0"/>
            <a:ext cx="10027534" cy="2812648"/>
          </a:xfrm>
          <a:prstGeom prst="rect">
            <a:avLst/>
          </a:prstGeom>
          <a:solidFill>
            <a:schemeClr val="tx2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40" name="Text Placeholder 20">
            <a:extLst>
              <a:ext uri="{FF2B5EF4-FFF2-40B4-BE49-F238E27FC236}">
                <a16:creationId xmlns:a16="http://schemas.microsoft.com/office/drawing/2014/main" id="{24F9A63D-4EDC-4E69-8642-954A344C7E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07720" y="2100428"/>
            <a:ext cx="6948796" cy="396523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 i="1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Ready to  Help You Get Started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F546FA8-0D8D-4FF8-B321-A55244CC47B6}"/>
              </a:ext>
            </a:extLst>
          </p:cNvPr>
          <p:cNvSpPr/>
          <p:nvPr userDrawn="1"/>
        </p:nvSpPr>
        <p:spPr>
          <a:xfrm>
            <a:off x="2164466" y="2768216"/>
            <a:ext cx="10027534" cy="4089784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 dirty="0">
              <a:solidFill>
                <a:schemeClr val="bg1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01D8015-4367-468D-8FA1-82CB5FF02646}"/>
              </a:ext>
            </a:extLst>
          </p:cNvPr>
          <p:cNvGrpSpPr/>
          <p:nvPr userDrawn="1"/>
        </p:nvGrpSpPr>
        <p:grpSpPr>
          <a:xfrm>
            <a:off x="2004060" y="0"/>
            <a:ext cx="160416" cy="4045353"/>
            <a:chOff x="4595336" y="0"/>
            <a:chExt cx="54864" cy="3829838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1959ADA8-A00E-4907-A1B5-F79E303E2EBC}"/>
                </a:ext>
              </a:extLst>
            </p:cNvPr>
            <p:cNvSpPr/>
            <p:nvPr userDrawn="1"/>
          </p:nvSpPr>
          <p:spPr>
            <a:xfrm>
              <a:off x="4595336" y="1284492"/>
              <a:ext cx="54864" cy="132864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/>
              <a:endParaRPr lang="en-IN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C0FC23A7-0496-47BE-9E23-910537408A5B}"/>
                </a:ext>
              </a:extLst>
            </p:cNvPr>
            <p:cNvSpPr/>
            <p:nvPr userDrawn="1"/>
          </p:nvSpPr>
          <p:spPr>
            <a:xfrm>
              <a:off x="4595336" y="2613139"/>
              <a:ext cx="54864" cy="121669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/>
              <a:endParaRPr lang="en-IN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490717B3-1DD2-4FC4-8F37-AD424D15394B}"/>
                </a:ext>
              </a:extLst>
            </p:cNvPr>
            <p:cNvSpPr/>
            <p:nvPr userDrawn="1"/>
          </p:nvSpPr>
          <p:spPr>
            <a:xfrm>
              <a:off x="4595336" y="0"/>
              <a:ext cx="54864" cy="1328647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/>
              <a:endParaRPr lang="en-IN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45" name="Text Placeholder 20">
            <a:extLst>
              <a:ext uri="{FF2B5EF4-FFF2-40B4-BE49-F238E27FC236}">
                <a16:creationId xmlns:a16="http://schemas.microsoft.com/office/drawing/2014/main" id="{1EC76653-5C39-4412-9E56-229D189B230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780934" y="4704797"/>
            <a:ext cx="5501961" cy="315032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20">
            <a:extLst>
              <a:ext uri="{FF2B5EF4-FFF2-40B4-BE49-F238E27FC236}">
                <a16:creationId xmlns:a16="http://schemas.microsoft.com/office/drawing/2014/main" id="{ADAB94D4-E3EF-4066-88A3-2EB38A8D0C5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80934" y="5105916"/>
            <a:ext cx="5501961" cy="315032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20">
            <a:extLst>
              <a:ext uri="{FF2B5EF4-FFF2-40B4-BE49-F238E27FC236}">
                <a16:creationId xmlns:a16="http://schemas.microsoft.com/office/drawing/2014/main" id="{8BA3726B-6B15-449D-BBC7-739E4B8C95D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780934" y="5507035"/>
            <a:ext cx="5501961" cy="315032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id="{394A43BF-D36E-4E52-A734-F421675D327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060072" y="6065134"/>
            <a:ext cx="1831989" cy="573071"/>
          </a:xfrm>
          <a:prstGeom prst="rect">
            <a:avLst/>
          </a:prstGeom>
        </p:spPr>
      </p:pic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112CFDC1-7E9B-464B-BB8E-7E47FFE4B1F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792020" y="3494414"/>
            <a:ext cx="5501961" cy="1036022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0925117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people standing next to a person in a suit and tie&#10;&#10;Description automatically generated">
            <a:extLst>
              <a:ext uri="{FF2B5EF4-FFF2-40B4-BE49-F238E27FC236}">
                <a16:creationId xmlns:a16="http://schemas.microsoft.com/office/drawing/2014/main" id="{BDCBF40B-45C5-44B2-8C15-40C100B22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893" r="10214" b="1414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1CD66170-7DAE-48AF-B767-25BC0E28393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F77721F-5F1E-453D-975E-5F9703BDC93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2309655"/>
            <a:ext cx="11272839" cy="1477328"/>
          </a:xfrm>
        </p:spPr>
        <p:txBody>
          <a:bodyPr wrap="square" anchor="ctr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9600">
                <a:solidFill>
                  <a:schemeClr val="bg1"/>
                </a:solidFill>
                <a:latin typeface="+mj-lt"/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5776543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7.xml"/><Relationship Id="rId21" Type="http://schemas.openxmlformats.org/officeDocument/2006/relationships/slideLayout" Target="../slideLayouts/slideLayout32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63" Type="http://schemas.openxmlformats.org/officeDocument/2006/relationships/slideLayout" Target="../slideLayouts/slideLayout74.xml"/><Relationship Id="rId68" Type="http://schemas.openxmlformats.org/officeDocument/2006/relationships/slideLayout" Target="../slideLayouts/slideLayout79.xml"/><Relationship Id="rId84" Type="http://schemas.openxmlformats.org/officeDocument/2006/relationships/slideLayout" Target="../slideLayouts/slideLayout95.xml"/><Relationship Id="rId89" Type="http://schemas.openxmlformats.org/officeDocument/2006/relationships/theme" Target="../theme/theme2.xml"/><Relationship Id="rId1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22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53" Type="http://schemas.openxmlformats.org/officeDocument/2006/relationships/slideLayout" Target="../slideLayouts/slideLayout64.xml"/><Relationship Id="rId58" Type="http://schemas.openxmlformats.org/officeDocument/2006/relationships/slideLayout" Target="../slideLayouts/slideLayout69.xml"/><Relationship Id="rId74" Type="http://schemas.openxmlformats.org/officeDocument/2006/relationships/slideLayout" Target="../slideLayouts/slideLayout85.xml"/><Relationship Id="rId79" Type="http://schemas.openxmlformats.org/officeDocument/2006/relationships/slideLayout" Target="../slideLayouts/slideLayout90.xml"/><Relationship Id="rId5" Type="http://schemas.openxmlformats.org/officeDocument/2006/relationships/slideLayout" Target="../slideLayouts/slideLayout16.xml"/><Relationship Id="rId90" Type="http://schemas.openxmlformats.org/officeDocument/2006/relationships/image" Target="../media/image1.png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56" Type="http://schemas.openxmlformats.org/officeDocument/2006/relationships/slideLayout" Target="../slideLayouts/slideLayout67.xml"/><Relationship Id="rId64" Type="http://schemas.openxmlformats.org/officeDocument/2006/relationships/slideLayout" Target="../slideLayouts/slideLayout75.xml"/><Relationship Id="rId69" Type="http://schemas.openxmlformats.org/officeDocument/2006/relationships/slideLayout" Target="../slideLayouts/slideLayout80.xml"/><Relationship Id="rId77" Type="http://schemas.openxmlformats.org/officeDocument/2006/relationships/slideLayout" Target="../slideLayouts/slideLayout88.xml"/><Relationship Id="rId8" Type="http://schemas.openxmlformats.org/officeDocument/2006/relationships/slideLayout" Target="../slideLayouts/slideLayout19.xml"/><Relationship Id="rId51" Type="http://schemas.openxmlformats.org/officeDocument/2006/relationships/slideLayout" Target="../slideLayouts/slideLayout62.xml"/><Relationship Id="rId72" Type="http://schemas.openxmlformats.org/officeDocument/2006/relationships/slideLayout" Target="../slideLayouts/slideLayout83.xml"/><Relationship Id="rId80" Type="http://schemas.openxmlformats.org/officeDocument/2006/relationships/slideLayout" Target="../slideLayouts/slideLayout91.xml"/><Relationship Id="rId85" Type="http://schemas.openxmlformats.org/officeDocument/2006/relationships/slideLayout" Target="../slideLayouts/slideLayout96.x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59" Type="http://schemas.openxmlformats.org/officeDocument/2006/relationships/slideLayout" Target="../slideLayouts/slideLayout70.xml"/><Relationship Id="rId67" Type="http://schemas.openxmlformats.org/officeDocument/2006/relationships/slideLayout" Target="../slideLayouts/slideLayout78.xml"/><Relationship Id="rId20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52.xml"/><Relationship Id="rId54" Type="http://schemas.openxmlformats.org/officeDocument/2006/relationships/slideLayout" Target="../slideLayouts/slideLayout65.xml"/><Relationship Id="rId62" Type="http://schemas.openxmlformats.org/officeDocument/2006/relationships/slideLayout" Target="../slideLayouts/slideLayout73.xml"/><Relationship Id="rId70" Type="http://schemas.openxmlformats.org/officeDocument/2006/relationships/slideLayout" Target="../slideLayouts/slideLayout81.xml"/><Relationship Id="rId75" Type="http://schemas.openxmlformats.org/officeDocument/2006/relationships/slideLayout" Target="../slideLayouts/slideLayout86.xml"/><Relationship Id="rId83" Type="http://schemas.openxmlformats.org/officeDocument/2006/relationships/slideLayout" Target="../slideLayouts/slideLayout94.xml"/><Relationship Id="rId88" Type="http://schemas.openxmlformats.org/officeDocument/2006/relationships/slideLayout" Target="../slideLayouts/slideLayout99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slideLayout" Target="../slideLayouts/slideLayout60.xml"/><Relationship Id="rId57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21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slideLayout" Target="../slideLayouts/slideLayout63.xml"/><Relationship Id="rId60" Type="http://schemas.openxmlformats.org/officeDocument/2006/relationships/slideLayout" Target="../slideLayouts/slideLayout71.xml"/><Relationship Id="rId65" Type="http://schemas.openxmlformats.org/officeDocument/2006/relationships/slideLayout" Target="../slideLayouts/slideLayout76.xml"/><Relationship Id="rId73" Type="http://schemas.openxmlformats.org/officeDocument/2006/relationships/slideLayout" Target="../slideLayouts/slideLayout84.xml"/><Relationship Id="rId78" Type="http://schemas.openxmlformats.org/officeDocument/2006/relationships/slideLayout" Target="../slideLayouts/slideLayout89.xml"/><Relationship Id="rId81" Type="http://schemas.openxmlformats.org/officeDocument/2006/relationships/slideLayout" Target="../slideLayouts/slideLayout92.xml"/><Relationship Id="rId86" Type="http://schemas.openxmlformats.org/officeDocument/2006/relationships/slideLayout" Target="../slideLayouts/slideLayout97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9" Type="http://schemas.openxmlformats.org/officeDocument/2006/relationships/slideLayout" Target="../slideLayouts/slideLayout50.xml"/><Relationship Id="rId34" Type="http://schemas.openxmlformats.org/officeDocument/2006/relationships/slideLayout" Target="../slideLayouts/slideLayout45.xml"/><Relationship Id="rId50" Type="http://schemas.openxmlformats.org/officeDocument/2006/relationships/slideLayout" Target="../slideLayouts/slideLayout61.xml"/><Relationship Id="rId55" Type="http://schemas.openxmlformats.org/officeDocument/2006/relationships/slideLayout" Target="../slideLayouts/slideLayout66.xml"/><Relationship Id="rId76" Type="http://schemas.openxmlformats.org/officeDocument/2006/relationships/slideLayout" Target="../slideLayouts/slideLayout87.xml"/><Relationship Id="rId7" Type="http://schemas.openxmlformats.org/officeDocument/2006/relationships/slideLayout" Target="../slideLayouts/slideLayout18.xml"/><Relationship Id="rId71" Type="http://schemas.openxmlformats.org/officeDocument/2006/relationships/slideLayout" Target="../slideLayouts/slideLayout82.xml"/><Relationship Id="rId2" Type="http://schemas.openxmlformats.org/officeDocument/2006/relationships/slideLayout" Target="../slideLayouts/slideLayout13.xml"/><Relationship Id="rId29" Type="http://schemas.openxmlformats.org/officeDocument/2006/relationships/slideLayout" Target="../slideLayouts/slideLayout40.xml"/><Relationship Id="rId24" Type="http://schemas.openxmlformats.org/officeDocument/2006/relationships/slideLayout" Target="../slideLayouts/slideLayout35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66" Type="http://schemas.openxmlformats.org/officeDocument/2006/relationships/slideLayout" Target="../slideLayouts/slideLayout77.xml"/><Relationship Id="rId87" Type="http://schemas.openxmlformats.org/officeDocument/2006/relationships/slideLayout" Target="../slideLayouts/slideLayout98.xml"/><Relationship Id="rId61" Type="http://schemas.openxmlformats.org/officeDocument/2006/relationships/slideLayout" Target="../slideLayouts/slideLayout72.xml"/><Relationship Id="rId82" Type="http://schemas.openxmlformats.org/officeDocument/2006/relationships/slideLayout" Target="../slideLayouts/slideLayout93.xml"/><Relationship Id="rId19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1637FEB-4204-3C28-9E1C-6F0BC72AB8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F6E4BC7-2BB4-9EA0-D244-EAA9614F87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553E60-1ACE-56E8-89EE-24D54285A0F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36312C-EAFF-4BED-94F5-BEE52E89B31E}" type="datetimeFigureOut">
              <a:rPr lang="en-US" smtClean="0"/>
              <a:t>2/1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AFE4EE-F558-1036-5EAE-ADA313B021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19B70D-6CC2-E9D7-F876-E2A756451D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EEC150-AE8D-49EF-81A6-13FC777E18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90109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C0DAE3A-6ADE-49C2-AABA-F0FFC9B274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5842B7-694D-48A9-A4E5-40A6360776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7D2F72A-6337-4352-BD21-C146E9DCE2E7}"/>
              </a:ext>
            </a:extLst>
          </p:cNvPr>
          <p:cNvGrpSpPr/>
          <p:nvPr/>
        </p:nvGrpSpPr>
        <p:grpSpPr>
          <a:xfrm>
            <a:off x="1" y="6730738"/>
            <a:ext cx="5584167" cy="137160"/>
            <a:chOff x="85490" y="5421819"/>
            <a:chExt cx="9411633" cy="295508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E52E6C5-5D51-4ABE-8C89-8FE94C98A65A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91F8D4E-C177-4231-B1C9-83B2399DCB01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685372A-2122-43AE-9678-E4BD2889E85D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34ECB9AB-CB8B-43A1-BA65-A49E6E7D012D}"/>
              </a:ext>
            </a:extLst>
          </p:cNvPr>
          <p:cNvGrpSpPr/>
          <p:nvPr/>
        </p:nvGrpSpPr>
        <p:grpSpPr>
          <a:xfrm>
            <a:off x="10670876" y="235"/>
            <a:ext cx="1521125" cy="137160"/>
            <a:chOff x="85490" y="5421819"/>
            <a:chExt cx="9411633" cy="295508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18E91FCE-C3E0-417C-940B-21136B53DA38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D5836E57-7FA5-4D88-9168-55ACEFCA6A19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D3C9602-1EFB-4D22-8FA6-7682BB1544C0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5EFF5876-162C-4DE1-8B7A-F89A085AB0AD}"/>
              </a:ext>
            </a:extLst>
          </p:cNvPr>
          <p:cNvPicPr>
            <a:picLocks noChangeAspect="1"/>
          </p:cNvPicPr>
          <p:nvPr userDrawn="1"/>
        </p:nvPicPr>
        <p:blipFill>
          <a:blip r:embed="rId90"/>
          <a:stretch>
            <a:fillRect/>
          </a:stretch>
        </p:blipFill>
        <p:spPr>
          <a:xfrm>
            <a:off x="151799" y="6357889"/>
            <a:ext cx="896112" cy="280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99463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  <p:sldLayoutId id="2147483722" r:id="rId62"/>
    <p:sldLayoutId id="2147483723" r:id="rId63"/>
    <p:sldLayoutId id="2147483724" r:id="rId64"/>
    <p:sldLayoutId id="2147483725" r:id="rId65"/>
    <p:sldLayoutId id="2147483726" r:id="rId66"/>
    <p:sldLayoutId id="2147483727" r:id="rId67"/>
    <p:sldLayoutId id="2147483728" r:id="rId68"/>
    <p:sldLayoutId id="2147483729" r:id="rId69"/>
    <p:sldLayoutId id="2147483730" r:id="rId70"/>
    <p:sldLayoutId id="2147483731" r:id="rId71"/>
    <p:sldLayoutId id="2147483732" r:id="rId72"/>
    <p:sldLayoutId id="2147483733" r:id="rId73"/>
    <p:sldLayoutId id="2147483734" r:id="rId74"/>
    <p:sldLayoutId id="2147483735" r:id="rId75"/>
    <p:sldLayoutId id="2147483736" r:id="rId76"/>
    <p:sldLayoutId id="2147483737" r:id="rId77"/>
    <p:sldLayoutId id="2147483738" r:id="rId78"/>
    <p:sldLayoutId id="2147483739" r:id="rId79"/>
    <p:sldLayoutId id="2147483740" r:id="rId80"/>
    <p:sldLayoutId id="2147483741" r:id="rId81"/>
    <p:sldLayoutId id="2147483742" r:id="rId82"/>
    <p:sldLayoutId id="2147483743" r:id="rId83"/>
    <p:sldLayoutId id="2147483744" r:id="rId84"/>
    <p:sldLayoutId id="2147483745" r:id="rId85"/>
    <p:sldLayoutId id="2147483746" r:id="rId86"/>
    <p:sldLayoutId id="2147483747" r:id="rId87"/>
    <p:sldLayoutId id="2147483748" r:id="rId88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800" kern="1200">
          <a:solidFill>
            <a:schemeClr val="accent3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400" kern="1200">
          <a:solidFill>
            <a:schemeClr val="accent3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accent3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accent3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accent3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">
          <p15:clr>
            <a:srgbClr val="F26B43"/>
          </p15:clr>
        </p15:guide>
        <p15:guide id="2" pos="528">
          <p15:clr>
            <a:srgbClr val="F26B43"/>
          </p15:clr>
        </p15:guide>
        <p15:guide id="3" pos="7152">
          <p15:clr>
            <a:srgbClr val="F26B43"/>
          </p15:clr>
        </p15:guide>
        <p15:guide id="4" orient="horz" pos="1075">
          <p15:clr>
            <a:srgbClr val="F26B43"/>
          </p15:clr>
        </p15:guide>
        <p15:guide id="5" orient="horz" pos="1133">
          <p15:clr>
            <a:srgbClr val="F26B43"/>
          </p15:clr>
        </p15:guide>
        <p15:guide id="6" orient="horz" pos="3907">
          <p15:clr>
            <a:srgbClr val="F26B43"/>
          </p15:clr>
        </p15:guide>
        <p15:guide id="7" orient="horz" pos="111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FF0215-E16C-2F02-2B47-1474132F9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302" y="655637"/>
            <a:ext cx="3196610" cy="1845640"/>
          </a:xfrm>
        </p:spPr>
        <p:txBody>
          <a:bodyPr/>
          <a:lstStyle/>
          <a:p>
            <a:r>
              <a:rPr lang="en-US" dirty="0"/>
              <a:t>AXIO for Distribution: WMS Rapid Launc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09E038-D578-279E-0EBB-A77642545AF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1593" y="3043205"/>
            <a:ext cx="3495543" cy="3736674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 algn="ctr">
              <a:buNone/>
            </a:pPr>
            <a:r>
              <a:rPr lang="en-US" dirty="0"/>
              <a:t>Streamline WMS implementation with a preconfigured solution and get to go-live faster.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434F58-BACD-B150-59A4-A016A5F2C6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38 Prepopulated Data Templat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61D6E8C-823A-289A-C2FD-378EFF7DE35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CoPilo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B730F1B-E177-D1E8-09A5-551AC64E28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Valu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CD1BEB-CB01-06AD-F77A-EFD46582E2A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dirty="0"/>
              <a:t>Guarantee successful WMS implementations with prepopulated templates that incorporate distribution best practices</a:t>
            </a:r>
          </a:p>
          <a:p>
            <a:pPr marL="0" indent="0" algn="ctr">
              <a:buNone/>
            </a:pPr>
            <a:r>
              <a:rPr lang="en-US" sz="1400" dirty="0"/>
              <a:t>Inbound | Outbound Inventory | Warehous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5B7ADE9-49B4-47B5-792C-A2C3F0A56BC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dirty="0"/>
              <a:t>Rely on CoPilot virtual agent to assist with populating the templates using Power Automate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4175296-0DEF-2445-7BD9-3B2AAFD0139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dirty="0"/>
              <a:t>Get started with WMS Rapid Launch for $10,000 </a:t>
            </a:r>
          </a:p>
          <a:p>
            <a:pPr marL="0" indent="0" algn="ctr">
              <a:buNone/>
            </a:pPr>
            <a:r>
              <a:rPr lang="en-US" sz="1200" dirty="0"/>
              <a:t>Average cost for WMS set up of these specific templates ranges from $17,000 - $25,000 or more.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BCE11B-2116-EBE0-1C4C-AA221D031257}"/>
              </a:ext>
            </a:extLst>
          </p:cNvPr>
          <p:cNvSpPr/>
          <p:nvPr/>
        </p:nvSpPr>
        <p:spPr>
          <a:xfrm>
            <a:off x="8219974" y="365759"/>
            <a:ext cx="3628725" cy="235819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se WMS Rapid Launch in a demo and close opportunities faster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56545B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ach out to Velosio to gain access to Rapid Launch at no cost. insider@velosio.com</a:t>
            </a:r>
          </a:p>
        </p:txBody>
      </p:sp>
    </p:spTree>
    <p:extLst>
      <p:ext uri="{BB962C8B-B14F-4D97-AF65-F5344CB8AC3E}">
        <p14:creationId xmlns:p14="http://schemas.microsoft.com/office/powerpoint/2010/main" val="3063971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BC44DB-B030-7227-A55C-4E102CF7BB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4474945" cy="1325563"/>
          </a:xfrm>
        </p:spPr>
        <p:txBody>
          <a:bodyPr/>
          <a:lstStyle/>
          <a:p>
            <a:r>
              <a:rPr lang="en-US" dirty="0"/>
              <a:t>Data Templates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94AF6F6-71CA-D76F-4AE3-2530190ADB7B}"/>
              </a:ext>
            </a:extLst>
          </p:cNvPr>
          <p:cNvSpPr txBox="1">
            <a:spLocks/>
          </p:cNvSpPr>
          <p:nvPr/>
        </p:nvSpPr>
        <p:spPr>
          <a:xfrm>
            <a:off x="6987139" y="372515"/>
            <a:ext cx="447494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rgbClr val="1B3E6F"/>
                </a:solidFill>
                <a:effectLst/>
                <a:uLnTx/>
                <a:uFillTx/>
                <a:latin typeface="Georgia"/>
                <a:ea typeface="+mj-ea"/>
                <a:cs typeface="+mj-cs"/>
              </a:rPr>
              <a:t>CoPilot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BE763D40-FB98-B83C-E588-1ED21799F631}"/>
              </a:ext>
            </a:extLst>
          </p:cNvPr>
          <p:cNvSpPr txBox="1">
            <a:spLocks/>
          </p:cNvSpPr>
          <p:nvPr/>
        </p:nvSpPr>
        <p:spPr>
          <a:xfrm>
            <a:off x="3071261" y="1689266"/>
            <a:ext cx="2241884" cy="5022817"/>
          </a:xfrm>
          <a:prstGeom prst="rect">
            <a:avLst/>
          </a:prstGeom>
        </p:spPr>
        <p:txBody>
          <a:bodyPr>
            <a:normAutofit fontScale="32500" lnSpcReduction="20000"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arehouse Work Exceptions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arehouse Work Pools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arehouse Location Format Segments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arehouse Location Profiles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arehouse Location Formats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arehouse Location Types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arehouse Management Parameters V2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ventory Adjustment Types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ervation Hierarchy Levels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ervation Hierarchy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ites V2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arehouse Disposition Codes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arehouse Location Directive Codes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sposition Code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ventory Status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arehouse Mobile Device Users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arehouse Mobile Device User Assigned Warehouse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arehouse Workers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arehouse Location Directive Line Actions V3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ycle Counting Plan Product Selections V2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56545B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0AB1218-9C0B-CF90-16F2-B0741A88AF8A}"/>
              </a:ext>
            </a:extLst>
          </p:cNvPr>
          <p:cNvSpPr txBox="1">
            <a:spLocks/>
          </p:cNvSpPr>
          <p:nvPr/>
        </p:nvSpPr>
        <p:spPr>
          <a:xfrm>
            <a:off x="663341" y="1689267"/>
            <a:ext cx="2241884" cy="5022818"/>
          </a:xfrm>
          <a:prstGeom prst="rect">
            <a:avLst/>
          </a:prstGeom>
        </p:spPr>
        <p:txBody>
          <a:bodyPr>
            <a:normAutofit fontScale="32500" lnSpcReduction="20000"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arehouses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arehouse Locations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arehouse Mobile Device Menu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arehouse Mobile Device Menu Item V4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ventory Counting Journal Names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arehouse Wave Templates V4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arehouse Location Directive Line Actions V3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arehouse Location Directive Lines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arehouse Location Directives V3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arehouse Mobile Device Menu Structure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arehouse Work Template V3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ave Template Steps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arehouse Zones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arehouse Work Template Lines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arehouse Zone Groups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ork Classes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arehouse Mobile Device Menu Item Work Class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arehouse Mobile Device Menu Item Work Confirmation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56545B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56545B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3">
            <a:extLst>
              <a:ext uri="{FF2B5EF4-FFF2-40B4-BE49-F238E27FC236}">
                <a16:creationId xmlns:a16="http://schemas.microsoft.com/office/drawing/2014/main" id="{6A70D841-C981-1C1A-F84A-588EE64BDE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2776" y="1601679"/>
            <a:ext cx="2696013" cy="41201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4">
            <a:extLst>
              <a:ext uri="{FF2B5EF4-FFF2-40B4-BE49-F238E27FC236}">
                <a16:creationId xmlns:a16="http://schemas.microsoft.com/office/drawing/2014/main" id="{81F611F0-E467-A011-AB28-D38A618175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5399" y="1601679"/>
            <a:ext cx="2641124" cy="41201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C739571-43CF-9C04-2C24-B7197A6968F2}"/>
              </a:ext>
            </a:extLst>
          </p:cNvPr>
          <p:cNvSpPr txBox="1">
            <a:spLocks/>
          </p:cNvSpPr>
          <p:nvPr/>
        </p:nvSpPr>
        <p:spPr>
          <a:xfrm>
            <a:off x="6512776" y="5884024"/>
            <a:ext cx="5455571" cy="601461"/>
          </a:xfrm>
          <a:prstGeom prst="rect">
            <a:avLst/>
          </a:prstGeom>
        </p:spPr>
        <p:txBody>
          <a:bodyPr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et Started</a:t>
            </a:r>
          </a:p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sider@velosio.com</a:t>
            </a:r>
          </a:p>
        </p:txBody>
      </p:sp>
    </p:spTree>
    <p:extLst>
      <p:ext uri="{BB962C8B-B14F-4D97-AF65-F5344CB8AC3E}">
        <p14:creationId xmlns:p14="http://schemas.microsoft.com/office/powerpoint/2010/main" val="23788680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3HaicuBd42T1svWyx9q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3HaicuBd42T1svWyx9q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WU77Vty4pTsRkCdYWVc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3HaicuBd42T1svWyx9q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3HaicuBd42T1svWyx9q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Dk5G2nBPd3uJqXH5t99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3HaicuBd42T1svWyx9q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3HaicuBd42T1svWyx9q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_DfDpBLVhwqVsGb678X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_DfDpBLVhwqVsGb678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_DfDpBLVhwqVsGb678X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_DfDpBLVhwqVsGb678X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_DfDpBLVhwqVsGb678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Dk5G2nBPd3uJqXH5t99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3HaicuBd42T1svWyx9q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3HaicuBd42T1svWyx9q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velosio_2021">
  <a:themeElements>
    <a:clrScheme name="Custom 1">
      <a:dk1>
        <a:srgbClr val="56545B"/>
      </a:dk1>
      <a:lt1>
        <a:sysClr val="window" lastClr="FFFFFF"/>
      </a:lt1>
      <a:dk2>
        <a:srgbClr val="1B3E6F"/>
      </a:dk2>
      <a:lt2>
        <a:srgbClr val="E7E6E6"/>
      </a:lt2>
      <a:accent1>
        <a:srgbClr val="F58220"/>
      </a:accent1>
      <a:accent2>
        <a:srgbClr val="A1CE5E"/>
      </a:accent2>
      <a:accent3>
        <a:srgbClr val="56545B"/>
      </a:accent3>
      <a:accent4>
        <a:srgbClr val="6AC3E9"/>
      </a:accent4>
      <a:accent5>
        <a:srgbClr val="1B3E6F"/>
      </a:accent5>
      <a:accent6>
        <a:srgbClr val="A1CE5E"/>
      </a:accent6>
      <a:hlink>
        <a:srgbClr val="0563C1"/>
      </a:hlink>
      <a:folHlink>
        <a:srgbClr val="954F72"/>
      </a:folHlink>
    </a:clrScheme>
    <a:fontScheme name="Velosio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l">
          <a:defRPr sz="1400" b="1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velosio_02-06-18" id="{D59AC897-0641-42FF-963C-B8844FAF49C7}" vid="{4AF0C72C-31EB-464E-A3CB-131B41199AE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9F11268D7329B44AD961BE8B37C526C" ma:contentTypeVersion="20" ma:contentTypeDescription="Create a new document." ma:contentTypeScope="" ma:versionID="4c72268ec73dcd14d8740ba23229ed37">
  <xsd:schema xmlns:xsd="http://www.w3.org/2001/XMLSchema" xmlns:xs="http://www.w3.org/2001/XMLSchema" xmlns:p="http://schemas.microsoft.com/office/2006/metadata/properties" xmlns:ns2="6b6b8f2a-8786-4546-b70f-ea57c6367a1d" xmlns:ns3="83d679b1-5e12-48c4-8200-a76c9b7c90ca" targetNamespace="http://schemas.microsoft.com/office/2006/metadata/properties" ma:root="true" ma:fieldsID="fc9487df019953b93b1151ae9d989419" ns2:_="" ns3:_="">
    <xsd:import namespace="6b6b8f2a-8786-4546-b70f-ea57c6367a1d"/>
    <xsd:import namespace="83d679b1-5e12-48c4-8200-a76c9b7c90c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DateTaken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3:TaxCatchAll" minOccurs="0"/>
                <xsd:element ref="ns2:lcf76f155ced4ddcb4097134ff3c332f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6b8f2a-8786-4546-b70f-ea57c6367a1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95755ef3-d60a-4f6c-8d83-ed17fb59db0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d679b1-5e12-48c4-8200-a76c9b7c90ca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245ddbe5-3734-4792-8eb5-fdb517e4d300}" ma:internalName="TaxCatchAll" ma:showField="CatchAllData" ma:web="83d679b1-5e12-48c4-8200-a76c9b7c90c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b6b8f2a-8786-4546-b70f-ea57c6367a1d">
      <Terms xmlns="http://schemas.microsoft.com/office/infopath/2007/PartnerControls"/>
    </lcf76f155ced4ddcb4097134ff3c332f>
    <TaxCatchAll xmlns="83d679b1-5e12-48c4-8200-a76c9b7c90ca" xsi:nil="true"/>
  </documentManagement>
</p:properties>
</file>

<file path=customXml/itemProps1.xml><?xml version="1.0" encoding="utf-8"?>
<ds:datastoreItem xmlns:ds="http://schemas.openxmlformats.org/officeDocument/2006/customXml" ds:itemID="{F9B04D95-5A79-487C-9C06-9C9D840F43A4}"/>
</file>

<file path=customXml/itemProps2.xml><?xml version="1.0" encoding="utf-8"?>
<ds:datastoreItem xmlns:ds="http://schemas.openxmlformats.org/officeDocument/2006/customXml" ds:itemID="{16C4066C-E0D2-435E-AAAE-737EFFBD2E76}"/>
</file>

<file path=customXml/itemProps3.xml><?xml version="1.0" encoding="utf-8"?>
<ds:datastoreItem xmlns:ds="http://schemas.openxmlformats.org/officeDocument/2006/customXml" ds:itemID="{D7CB80C7-3733-4131-8113-BD1826441401}"/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69</Words>
  <Application>Microsoft Office PowerPoint</Application>
  <PresentationFormat>Widescreen</PresentationFormat>
  <Paragraphs>57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1" baseType="lpstr">
      <vt:lpstr>Arial</vt:lpstr>
      <vt:lpstr>Calibri</vt:lpstr>
      <vt:lpstr>Calibri Light</vt:lpstr>
      <vt:lpstr>Engravers MT</vt:lpstr>
      <vt:lpstr>Georgia</vt:lpstr>
      <vt:lpstr>Wingdings</vt:lpstr>
      <vt:lpstr>Office Theme</vt:lpstr>
      <vt:lpstr>velosio_2021</vt:lpstr>
      <vt:lpstr>think-cell Slide</vt:lpstr>
      <vt:lpstr>AXIO for Distribution: WMS Rapid Launch</vt:lpstr>
      <vt:lpstr>Data Templates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XIO for Distribution: WMS Rapid Launch</dc:title>
  <dc:creator>Sabrina Zimara</dc:creator>
  <cp:lastModifiedBy>Sabrina Zimara</cp:lastModifiedBy>
  <cp:revision>1</cp:revision>
  <dcterms:created xsi:type="dcterms:W3CDTF">2024-02-14T14:49:11Z</dcterms:created>
  <dcterms:modified xsi:type="dcterms:W3CDTF">2024-02-14T14:49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9F11268D7329B44AD961BE8B37C526C</vt:lpwstr>
  </property>
</Properties>
</file>